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6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E0EB"/>
    <a:srgbClr val="59C7DC"/>
    <a:srgbClr val="000000"/>
    <a:srgbClr val="003300"/>
    <a:srgbClr val="E3FEC2"/>
    <a:srgbClr val="9DFB2B"/>
    <a:srgbClr val="CBEC7A"/>
    <a:srgbClr val="E2EA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87" autoAdjust="0"/>
    <p:restoredTop sz="94676" autoAdjust="0"/>
  </p:normalViewPr>
  <p:slideViewPr>
    <p:cSldViewPr snapToGrid="0">
      <p:cViewPr varScale="1">
        <p:scale>
          <a:sx n="59" d="100"/>
          <a:sy n="59" d="100"/>
        </p:scale>
        <p:origin x="964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6480"/>
    </p:cViewPr>
  </p:sorterViewPr>
  <p:notesViewPr>
    <p:cSldViewPr snapToGrid="0">
      <p:cViewPr varScale="1">
        <p:scale>
          <a:sx n="56" d="100"/>
          <a:sy n="56" d="100"/>
        </p:scale>
        <p:origin x="-2573" y="-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15BB87-2F48-4720-9C8F-1A536188FCE2}" type="datetimeFigureOut">
              <a:rPr lang="en-US" smtClean="0"/>
              <a:pPr/>
              <a:t>5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39C04E-A543-47B0-BF40-59652A01547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583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2.bin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.jpeg"/><Relationship Id="rId11" Type="http://schemas.openxmlformats.org/officeDocument/2006/relationships/image" Target="../media/image7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emf"/><Relationship Id="rId4" Type="http://schemas.openxmlformats.org/officeDocument/2006/relationships/tags" Target="../tags/tag14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3.bin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8.jpeg"/><Relationship Id="rId11" Type="http://schemas.openxmlformats.org/officeDocument/2006/relationships/image" Target="../media/image7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emf"/><Relationship Id="rId4" Type="http://schemas.openxmlformats.org/officeDocument/2006/relationships/tags" Target="../tags/tag18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9.jpeg"/><Relationship Id="rId11" Type="http://schemas.openxmlformats.org/officeDocument/2006/relationships/image" Target="../media/image7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emf"/><Relationship Id="rId4" Type="http://schemas.openxmlformats.org/officeDocument/2006/relationships/tags" Target="../tags/tag22.xml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1" descr="test1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1247507"/>
            <a:ext cx="12191996" cy="5476645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525" y="1"/>
            <a:ext cx="12195119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rgbClr val="FFFFFF"/>
          </a:solidFill>
          <a:ln w="12700" cmpd="sng" algn="ctr">
            <a:noFill/>
            <a:miter lim="800000"/>
            <a:headEnd/>
            <a:tailEnd/>
          </a:ln>
          <a:effectLst>
            <a:outerShdw blurRad="50800" dist="25400" dir="5400000" algn="t" rotWithShape="0">
              <a:srgbClr val="000000">
                <a:lumMod val="75000"/>
                <a:lumOff val="25000"/>
                <a:alpha val="40000"/>
              </a:srgbClr>
            </a:outerShdw>
          </a:effectLst>
        </p:spPr>
        <p:txBody>
          <a:bodyPr wrap="square" lIns="37564" tIns="48832" rIns="37564" bIns="48832" rtlCol="0" anchor="ctr"/>
          <a:lstStyle/>
          <a:p>
            <a:pPr algn="ctr" defTabSz="1088239">
              <a:defRPr/>
            </a:pPr>
            <a:endParaRPr lang="en-US" sz="1200" dirty="0">
              <a:solidFill>
                <a:srgbClr val="FFFFFF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473" y="673955"/>
            <a:ext cx="2926080" cy="688491"/>
          </a:xfrm>
          <a:prstGeom prst="rect">
            <a:avLst/>
          </a:prstGeom>
          <a:noFill/>
        </p:spPr>
      </p:pic>
      <p:sp>
        <p:nvSpPr>
          <p:cNvPr id="21" name="Rectangle 20"/>
          <p:cNvSpPr/>
          <p:nvPr userDrawn="1"/>
        </p:nvSpPr>
        <p:spPr>
          <a:xfrm>
            <a:off x="0" y="6370320"/>
            <a:ext cx="12192000" cy="487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959" tIns="55980" rIns="111959" bIns="55980" rtlCol="0" anchor="ctr"/>
          <a:lstStyle/>
          <a:p>
            <a:pPr algn="ctr" defTabSz="1088239"/>
            <a:endParaRPr lang="en-US" sz="1733" dirty="0">
              <a:solidFill>
                <a:prstClr val="white"/>
              </a:solidFill>
            </a:endParaRPr>
          </a:p>
        </p:txBody>
      </p:sp>
      <p:pic>
        <p:nvPicPr>
          <p:cNvPr id="22" name="Picture 104" descr="C:\Users\UserSim\Desktop\Capgemini\moto.emf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442537" y="6492699"/>
            <a:ext cx="2926080" cy="2429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842810" y="639403"/>
            <a:ext cx="2758844" cy="757596"/>
          </a:xfrm>
          <a:prstGeom prst="rect">
            <a:avLst/>
          </a:prstGeom>
          <a:noFill/>
        </p:spPr>
      </p:pic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571500" y="3213101"/>
            <a:ext cx="6400800" cy="467330"/>
          </a:xfrm>
        </p:spPr>
        <p:txBody>
          <a:bodyPr wrap="square" rIns="0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667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571500" y="4467987"/>
            <a:ext cx="6400800" cy="344219"/>
          </a:xfrm>
        </p:spPr>
        <p:txBody>
          <a:bodyPr wrap="square" rIns="0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12700" y="5681134"/>
            <a:ext cx="12179301" cy="584201"/>
            <a:chOff x="9525" y="4260850"/>
            <a:chExt cx="9134476" cy="438151"/>
          </a:xfrm>
        </p:grpSpPr>
        <p:sp>
          <p:nvSpPr>
            <p:cNvPr id="141327" name="Line 15"/>
            <p:cNvSpPr>
              <a:spLocks noChangeShapeType="1"/>
            </p:cNvSpPr>
            <p:nvPr userDrawn="1"/>
          </p:nvSpPr>
          <p:spPr bwMode="auto">
            <a:xfrm flipH="1">
              <a:off x="9525" y="4668838"/>
              <a:ext cx="415290" cy="0"/>
            </a:xfrm>
            <a:prstGeom prst="line">
              <a:avLst/>
            </a:prstGeom>
            <a:noFill/>
            <a:ln w="11113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88239"/>
              <a:endParaRPr lang="en-US" sz="2133" dirty="0">
                <a:solidFill>
                  <a:srgbClr val="00234B"/>
                </a:solidFill>
              </a:endParaRPr>
            </a:p>
          </p:txBody>
        </p:sp>
        <p:sp>
          <p:nvSpPr>
            <p:cNvPr id="141341" name="Line 29"/>
            <p:cNvSpPr>
              <a:spLocks noChangeShapeType="1"/>
            </p:cNvSpPr>
            <p:nvPr userDrawn="1"/>
          </p:nvSpPr>
          <p:spPr bwMode="auto">
            <a:xfrm>
              <a:off x="2042161" y="4668838"/>
              <a:ext cx="7101840" cy="0"/>
            </a:xfrm>
            <a:prstGeom prst="line">
              <a:avLst/>
            </a:prstGeom>
            <a:noFill/>
            <a:ln w="11113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88239"/>
              <a:endParaRPr lang="en-US" sz="2133" dirty="0">
                <a:solidFill>
                  <a:srgbClr val="00234B"/>
                </a:solidFill>
              </a:endParaRPr>
            </a:p>
          </p:txBody>
        </p:sp>
        <p:grpSp>
          <p:nvGrpSpPr>
            <p:cNvPr id="37" name="Group 36"/>
            <p:cNvGrpSpPr/>
            <p:nvPr userDrawn="1"/>
          </p:nvGrpSpPr>
          <p:grpSpPr>
            <a:xfrm>
              <a:off x="428625" y="4260850"/>
              <a:ext cx="1624013" cy="438151"/>
              <a:chOff x="511175" y="4260850"/>
              <a:chExt cx="1624013" cy="438151"/>
            </a:xfrm>
          </p:grpSpPr>
          <p:sp>
            <p:nvSpPr>
              <p:cNvPr id="141321" name="Freeform 9"/>
              <p:cNvSpPr>
                <a:spLocks/>
              </p:cNvSpPr>
              <p:nvPr userDrawn="1"/>
            </p:nvSpPr>
            <p:spPr bwMode="auto">
              <a:xfrm>
                <a:off x="511175" y="4422775"/>
                <a:ext cx="476250" cy="109538"/>
              </a:xfrm>
              <a:custGeom>
                <a:avLst/>
                <a:gdLst/>
                <a:ahLst/>
                <a:cxnLst>
                  <a:cxn ang="0">
                    <a:pos x="1" y="45"/>
                  </a:cxn>
                  <a:cxn ang="0">
                    <a:pos x="1" y="8"/>
                  </a:cxn>
                  <a:cxn ang="0">
                    <a:pos x="8" y="0"/>
                  </a:cxn>
                  <a:cxn ang="0">
                    <a:pos x="188" y="0"/>
                  </a:cxn>
                  <a:cxn ang="0">
                    <a:pos x="195" y="8"/>
                  </a:cxn>
                  <a:cxn ang="0">
                    <a:pos x="195" y="23"/>
                  </a:cxn>
                  <a:cxn ang="0">
                    <a:pos x="16" y="23"/>
                  </a:cxn>
                </a:cxnLst>
                <a:rect l="0" t="0" r="r" b="b"/>
                <a:pathLst>
                  <a:path w="195" h="45">
                    <a:moveTo>
                      <a:pt x="1" y="45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3" y="0"/>
                      <a:pt x="195" y="4"/>
                      <a:pt x="195" y="8"/>
                    </a:cubicBezTo>
                    <a:cubicBezTo>
                      <a:pt x="195" y="23"/>
                      <a:pt x="195" y="23"/>
                      <a:pt x="195" y="23"/>
                    </a:cubicBezTo>
                    <a:cubicBezTo>
                      <a:pt x="16" y="23"/>
                      <a:pt x="16" y="23"/>
                      <a:pt x="16" y="23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22" name="Freeform 10"/>
              <p:cNvSpPr>
                <a:spLocks/>
              </p:cNvSpPr>
              <p:nvPr userDrawn="1"/>
            </p:nvSpPr>
            <p:spPr bwMode="auto">
              <a:xfrm>
                <a:off x="511175" y="4532313"/>
                <a:ext cx="476250" cy="166688"/>
              </a:xfrm>
              <a:custGeom>
                <a:avLst/>
                <a:gdLst/>
                <a:ahLst/>
                <a:cxnLst>
                  <a:cxn ang="0">
                    <a:pos x="180" y="0"/>
                  </a:cxn>
                  <a:cxn ang="0">
                    <a:pos x="1" y="0"/>
                  </a:cxn>
                  <a:cxn ang="0">
                    <a:pos x="1" y="60"/>
                  </a:cxn>
                  <a:cxn ang="0">
                    <a:pos x="8" y="68"/>
                  </a:cxn>
                  <a:cxn ang="0">
                    <a:pos x="188" y="68"/>
                  </a:cxn>
                  <a:cxn ang="0">
                    <a:pos x="195" y="60"/>
                  </a:cxn>
                  <a:cxn ang="0">
                    <a:pos x="195" y="0"/>
                  </a:cxn>
                </a:cxnLst>
                <a:rect l="0" t="0" r="r" b="b"/>
                <a:pathLst>
                  <a:path w="195" h="68">
                    <a:moveTo>
                      <a:pt x="18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5"/>
                      <a:pt x="3" y="68"/>
                      <a:pt x="8" y="68"/>
                    </a:cubicBezTo>
                    <a:cubicBezTo>
                      <a:pt x="188" y="68"/>
                      <a:pt x="188" y="68"/>
                      <a:pt x="188" y="68"/>
                    </a:cubicBezTo>
                    <a:cubicBezTo>
                      <a:pt x="192" y="68"/>
                      <a:pt x="195" y="65"/>
                      <a:pt x="195" y="60"/>
                    </a:cubicBezTo>
                    <a:cubicBezTo>
                      <a:pt x="195" y="0"/>
                      <a:pt x="195" y="0"/>
                      <a:pt x="195" y="0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23" name="Rectangle 11"/>
              <p:cNvSpPr>
                <a:spLocks noChangeArrowheads="1"/>
              </p:cNvSpPr>
              <p:nvPr userDrawn="1"/>
            </p:nvSpPr>
            <p:spPr bwMode="auto">
              <a:xfrm>
                <a:off x="860425" y="4618038"/>
                <a:ext cx="92075" cy="41275"/>
              </a:xfrm>
              <a:prstGeom prst="rect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24" name="Line 12"/>
              <p:cNvSpPr>
                <a:spLocks noChangeShapeType="1"/>
              </p:cNvSpPr>
              <p:nvPr userDrawn="1"/>
            </p:nvSpPr>
            <p:spPr bwMode="auto">
              <a:xfrm>
                <a:off x="554038" y="4659313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25" name="Line 13"/>
              <p:cNvSpPr>
                <a:spLocks noChangeShapeType="1"/>
              </p:cNvSpPr>
              <p:nvPr userDrawn="1"/>
            </p:nvSpPr>
            <p:spPr bwMode="auto">
              <a:xfrm>
                <a:off x="554038" y="4637088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26" name="Line 14"/>
              <p:cNvSpPr>
                <a:spLocks noChangeShapeType="1"/>
              </p:cNvSpPr>
              <p:nvPr userDrawn="1"/>
            </p:nvSpPr>
            <p:spPr bwMode="auto">
              <a:xfrm>
                <a:off x="554038" y="4618038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28" name="Line 16"/>
              <p:cNvSpPr>
                <a:spLocks noChangeShapeType="1"/>
              </p:cNvSpPr>
              <p:nvPr userDrawn="1"/>
            </p:nvSpPr>
            <p:spPr bwMode="auto">
              <a:xfrm flipH="1">
                <a:off x="989013" y="4667250"/>
                <a:ext cx="152400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29" name="Line 17"/>
              <p:cNvSpPr>
                <a:spLocks noChangeShapeType="1"/>
              </p:cNvSpPr>
              <p:nvPr userDrawn="1"/>
            </p:nvSpPr>
            <p:spPr bwMode="auto">
              <a:xfrm flipH="1">
                <a:off x="1573213" y="4667250"/>
                <a:ext cx="150813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30" name="Freeform 18"/>
              <p:cNvSpPr>
                <a:spLocks/>
              </p:cNvSpPr>
              <p:nvPr userDrawn="1"/>
            </p:nvSpPr>
            <p:spPr bwMode="auto">
              <a:xfrm>
                <a:off x="1160463" y="4279900"/>
                <a:ext cx="322263" cy="333375"/>
              </a:xfrm>
              <a:custGeom>
                <a:avLst/>
                <a:gdLst/>
                <a:ahLst/>
                <a:cxnLst>
                  <a:cxn ang="0">
                    <a:pos x="132" y="21"/>
                  </a:cxn>
                  <a:cxn ang="0">
                    <a:pos x="79" y="0"/>
                  </a:cxn>
                  <a:cxn ang="0">
                    <a:pos x="0" y="78"/>
                  </a:cxn>
                  <a:cxn ang="0">
                    <a:pos x="26" y="136"/>
                  </a:cxn>
                </a:cxnLst>
                <a:rect l="0" t="0" r="r" b="b"/>
                <a:pathLst>
                  <a:path w="132" h="136">
                    <a:moveTo>
                      <a:pt x="132" y="21"/>
                    </a:moveTo>
                    <a:cubicBezTo>
                      <a:pt x="118" y="8"/>
                      <a:pt x="99" y="0"/>
                      <a:pt x="79" y="0"/>
                    </a:cubicBezTo>
                    <a:cubicBezTo>
                      <a:pt x="35" y="0"/>
                      <a:pt x="0" y="35"/>
                      <a:pt x="0" y="78"/>
                    </a:cubicBezTo>
                    <a:cubicBezTo>
                      <a:pt x="0" y="101"/>
                      <a:pt x="10" y="122"/>
                      <a:pt x="26" y="136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31" name="Freeform 19"/>
              <p:cNvSpPr>
                <a:spLocks/>
              </p:cNvSpPr>
              <p:nvPr userDrawn="1"/>
            </p:nvSpPr>
            <p:spPr bwMode="auto">
              <a:xfrm>
                <a:off x="1484313" y="4418013"/>
                <a:ext cx="58738" cy="192088"/>
              </a:xfrm>
              <a:custGeom>
                <a:avLst/>
                <a:gdLst/>
                <a:ahLst/>
                <a:cxnLst>
                  <a:cxn ang="0">
                    <a:pos x="0" y="79"/>
                  </a:cxn>
                  <a:cxn ang="0">
                    <a:pos x="24" y="22"/>
                  </a:cxn>
                  <a:cxn ang="0">
                    <a:pos x="21" y="0"/>
                  </a:cxn>
                </a:cxnLst>
                <a:rect l="0" t="0" r="r" b="b"/>
                <a:pathLst>
                  <a:path w="24" h="79">
                    <a:moveTo>
                      <a:pt x="0" y="79"/>
                    </a:moveTo>
                    <a:cubicBezTo>
                      <a:pt x="15" y="65"/>
                      <a:pt x="24" y="45"/>
                      <a:pt x="24" y="22"/>
                    </a:cubicBezTo>
                    <a:cubicBezTo>
                      <a:pt x="24" y="15"/>
                      <a:pt x="23" y="7"/>
                      <a:pt x="21" y="0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32" name="Freeform 20"/>
              <p:cNvSpPr>
                <a:spLocks/>
              </p:cNvSpPr>
              <p:nvPr userDrawn="1"/>
            </p:nvSpPr>
            <p:spPr bwMode="auto">
              <a:xfrm>
                <a:off x="1441450" y="4332288"/>
                <a:ext cx="123825" cy="1143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32"/>
                  </a:cxn>
                  <a:cxn ang="0">
                    <a:pos x="0" y="32"/>
                  </a:cxn>
                  <a:cxn ang="0">
                    <a:pos x="38" y="72"/>
                  </a:cxn>
                  <a:cxn ang="0">
                    <a:pos x="78" y="32"/>
                  </a:cxn>
                  <a:cxn ang="0">
                    <a:pos x="54" y="32"/>
                  </a:cxn>
                  <a:cxn ang="0">
                    <a:pos x="54" y="0"/>
                  </a:cxn>
                </a:cxnLst>
                <a:rect l="0" t="0" r="r" b="b"/>
                <a:pathLst>
                  <a:path w="78" h="72">
                    <a:moveTo>
                      <a:pt x="26" y="0"/>
                    </a:moveTo>
                    <a:lnTo>
                      <a:pt x="26" y="32"/>
                    </a:lnTo>
                    <a:lnTo>
                      <a:pt x="0" y="32"/>
                    </a:lnTo>
                    <a:lnTo>
                      <a:pt x="38" y="72"/>
                    </a:lnTo>
                    <a:lnTo>
                      <a:pt x="78" y="32"/>
                    </a:lnTo>
                    <a:lnTo>
                      <a:pt x="54" y="32"/>
                    </a:lnTo>
                    <a:lnTo>
                      <a:pt x="54" y="0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33" name="Freeform 21"/>
              <p:cNvSpPr>
                <a:spLocks/>
              </p:cNvSpPr>
              <p:nvPr userDrawn="1"/>
            </p:nvSpPr>
            <p:spPr bwMode="auto">
              <a:xfrm>
                <a:off x="1141413" y="4613275"/>
                <a:ext cx="431800" cy="53975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0" y="22"/>
                  </a:cxn>
                  <a:cxn ang="0">
                    <a:pos x="22" y="0"/>
                  </a:cxn>
                  <a:cxn ang="0">
                    <a:pos x="155" y="0"/>
                  </a:cxn>
                  <a:cxn ang="0">
                    <a:pos x="177" y="22"/>
                  </a:cxn>
                </a:cxnLst>
                <a:rect l="0" t="0" r="r" b="b"/>
                <a:pathLst>
                  <a:path w="177" h="22">
                    <a:moveTo>
                      <a:pt x="0" y="22"/>
                    </a:move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67" y="0"/>
                      <a:pt x="177" y="10"/>
                      <a:pt x="177" y="22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34" name="Freeform 22"/>
              <p:cNvSpPr>
                <a:spLocks/>
              </p:cNvSpPr>
              <p:nvPr userDrawn="1"/>
            </p:nvSpPr>
            <p:spPr bwMode="auto">
              <a:xfrm>
                <a:off x="1270000" y="4327525"/>
                <a:ext cx="141288" cy="249238"/>
              </a:xfrm>
              <a:custGeom>
                <a:avLst/>
                <a:gdLst/>
                <a:ahLst/>
                <a:cxnLst>
                  <a:cxn ang="0">
                    <a:pos x="24" y="59"/>
                  </a:cxn>
                  <a:cxn ang="0">
                    <a:pos x="35" y="67"/>
                  </a:cxn>
                  <a:cxn ang="0">
                    <a:pos x="26" y="73"/>
                  </a:cxn>
                  <a:cxn ang="0">
                    <a:pos x="8" y="69"/>
                  </a:cxn>
                  <a:cxn ang="0">
                    <a:pos x="7" y="68"/>
                  </a:cxn>
                  <a:cxn ang="0">
                    <a:pos x="4" y="71"/>
                  </a:cxn>
                  <a:cxn ang="0">
                    <a:pos x="1" y="83"/>
                  </a:cxn>
                  <a:cxn ang="0">
                    <a:pos x="3" y="86"/>
                  </a:cxn>
                  <a:cxn ang="0">
                    <a:pos x="21" y="91"/>
                  </a:cxn>
                  <a:cxn ang="0">
                    <a:pos x="21" y="99"/>
                  </a:cxn>
                  <a:cxn ang="0">
                    <a:pos x="24" y="102"/>
                  </a:cxn>
                  <a:cxn ang="0">
                    <a:pos x="34" y="102"/>
                  </a:cxn>
                  <a:cxn ang="0">
                    <a:pos x="37" y="99"/>
                  </a:cxn>
                  <a:cxn ang="0">
                    <a:pos x="37" y="89"/>
                  </a:cxn>
                  <a:cxn ang="0">
                    <a:pos x="58" y="65"/>
                  </a:cxn>
                  <a:cxn ang="0">
                    <a:pos x="36" y="41"/>
                  </a:cxn>
                  <a:cxn ang="0">
                    <a:pos x="23" y="33"/>
                  </a:cxn>
                  <a:cxn ang="0">
                    <a:pos x="31" y="28"/>
                  </a:cxn>
                  <a:cxn ang="0">
                    <a:pos x="46" y="31"/>
                  </a:cxn>
                  <a:cxn ang="0">
                    <a:pos x="47" y="32"/>
                  </a:cxn>
                  <a:cxn ang="0">
                    <a:pos x="50" y="29"/>
                  </a:cxn>
                  <a:cxn ang="0">
                    <a:pos x="53" y="18"/>
                  </a:cxn>
                  <a:cxn ang="0">
                    <a:pos x="51" y="14"/>
                  </a:cxn>
                  <a:cxn ang="0">
                    <a:pos x="36" y="11"/>
                  </a:cxn>
                  <a:cxn ang="0">
                    <a:pos x="36" y="3"/>
                  </a:cxn>
                  <a:cxn ang="0">
                    <a:pos x="32" y="0"/>
                  </a:cxn>
                  <a:cxn ang="0">
                    <a:pos x="23" y="0"/>
                  </a:cxn>
                  <a:cxn ang="0">
                    <a:pos x="20" y="4"/>
                  </a:cxn>
                  <a:cxn ang="0">
                    <a:pos x="20" y="12"/>
                  </a:cxn>
                  <a:cxn ang="0">
                    <a:pos x="0" y="36"/>
                  </a:cxn>
                  <a:cxn ang="0">
                    <a:pos x="24" y="59"/>
                  </a:cxn>
                </a:cxnLst>
                <a:rect l="0" t="0" r="r" b="b"/>
                <a:pathLst>
                  <a:path w="58" h="102">
                    <a:moveTo>
                      <a:pt x="24" y="59"/>
                    </a:moveTo>
                    <a:cubicBezTo>
                      <a:pt x="33" y="62"/>
                      <a:pt x="35" y="64"/>
                      <a:pt x="35" y="67"/>
                    </a:cubicBezTo>
                    <a:cubicBezTo>
                      <a:pt x="35" y="71"/>
                      <a:pt x="30" y="73"/>
                      <a:pt x="26" y="73"/>
                    </a:cubicBezTo>
                    <a:cubicBezTo>
                      <a:pt x="18" y="73"/>
                      <a:pt x="12" y="70"/>
                      <a:pt x="8" y="69"/>
                    </a:cubicBezTo>
                    <a:cubicBezTo>
                      <a:pt x="8" y="68"/>
                      <a:pt x="7" y="68"/>
                      <a:pt x="7" y="68"/>
                    </a:cubicBezTo>
                    <a:cubicBezTo>
                      <a:pt x="5" y="68"/>
                      <a:pt x="4" y="69"/>
                      <a:pt x="4" y="71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4"/>
                      <a:pt x="1" y="86"/>
                      <a:pt x="3" y="86"/>
                    </a:cubicBezTo>
                    <a:cubicBezTo>
                      <a:pt x="8" y="89"/>
                      <a:pt x="15" y="90"/>
                      <a:pt x="21" y="91"/>
                    </a:cubicBezTo>
                    <a:cubicBezTo>
                      <a:pt x="21" y="99"/>
                      <a:pt x="21" y="99"/>
                      <a:pt x="21" y="99"/>
                    </a:cubicBezTo>
                    <a:cubicBezTo>
                      <a:pt x="21" y="101"/>
                      <a:pt x="23" y="102"/>
                      <a:pt x="2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6" y="102"/>
                      <a:pt x="37" y="100"/>
                      <a:pt x="37" y="99"/>
                    </a:cubicBezTo>
                    <a:cubicBezTo>
                      <a:pt x="37" y="89"/>
                      <a:pt x="37" y="89"/>
                      <a:pt x="37" y="89"/>
                    </a:cubicBezTo>
                    <a:cubicBezTo>
                      <a:pt x="50" y="86"/>
                      <a:pt x="58" y="77"/>
                      <a:pt x="58" y="65"/>
                    </a:cubicBezTo>
                    <a:cubicBezTo>
                      <a:pt x="57" y="53"/>
                      <a:pt x="51" y="46"/>
                      <a:pt x="36" y="41"/>
                    </a:cubicBezTo>
                    <a:cubicBezTo>
                      <a:pt x="26" y="38"/>
                      <a:pt x="23" y="36"/>
                      <a:pt x="23" y="33"/>
                    </a:cubicBezTo>
                    <a:cubicBezTo>
                      <a:pt x="23" y="29"/>
                      <a:pt x="28" y="28"/>
                      <a:pt x="31" y="28"/>
                    </a:cubicBezTo>
                    <a:cubicBezTo>
                      <a:pt x="38" y="28"/>
                      <a:pt x="43" y="30"/>
                      <a:pt x="46" y="3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32"/>
                      <a:pt x="50" y="31"/>
                      <a:pt x="50" y="29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6"/>
                      <a:pt x="53" y="14"/>
                      <a:pt x="51" y="14"/>
                    </a:cubicBezTo>
                    <a:cubicBezTo>
                      <a:pt x="46" y="12"/>
                      <a:pt x="41" y="11"/>
                      <a:pt x="36" y="11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6" y="1"/>
                      <a:pt x="34" y="0"/>
                      <a:pt x="32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1" y="0"/>
                      <a:pt x="20" y="2"/>
                      <a:pt x="20" y="4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7" y="15"/>
                      <a:pt x="0" y="24"/>
                      <a:pt x="0" y="36"/>
                    </a:cubicBezTo>
                    <a:cubicBezTo>
                      <a:pt x="1" y="50"/>
                      <a:pt x="13" y="56"/>
                      <a:pt x="24" y="59"/>
                    </a:cubicBezTo>
                    <a:close/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35" name="Oval 23"/>
              <p:cNvSpPr>
                <a:spLocks noChangeArrowheads="1"/>
              </p:cNvSpPr>
              <p:nvPr userDrawn="1"/>
            </p:nvSpPr>
            <p:spPr bwMode="auto">
              <a:xfrm>
                <a:off x="1887538" y="4314825"/>
                <a:ext cx="49213" cy="55563"/>
              </a:xfrm>
              <a:prstGeom prst="ellips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36" name="Freeform 24"/>
              <p:cNvSpPr>
                <a:spLocks/>
              </p:cNvSpPr>
              <p:nvPr userDrawn="1"/>
            </p:nvSpPr>
            <p:spPr bwMode="auto">
              <a:xfrm>
                <a:off x="1985963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37" name="Freeform 25"/>
              <p:cNvSpPr>
                <a:spLocks/>
              </p:cNvSpPr>
              <p:nvPr userDrawn="1"/>
            </p:nvSpPr>
            <p:spPr bwMode="auto">
              <a:xfrm>
                <a:off x="1895475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38" name="Freeform 26"/>
              <p:cNvSpPr>
                <a:spLocks/>
              </p:cNvSpPr>
              <p:nvPr userDrawn="1"/>
            </p:nvSpPr>
            <p:spPr bwMode="auto">
              <a:xfrm>
                <a:off x="1809750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39" name="Freeform 27"/>
              <p:cNvSpPr>
                <a:spLocks/>
              </p:cNvSpPr>
              <p:nvPr userDrawn="1"/>
            </p:nvSpPr>
            <p:spPr bwMode="auto">
              <a:xfrm>
                <a:off x="1741488" y="4260850"/>
                <a:ext cx="357188" cy="330200"/>
              </a:xfrm>
              <a:custGeom>
                <a:avLst/>
                <a:gdLst/>
                <a:ahLst/>
                <a:cxnLst>
                  <a:cxn ang="0">
                    <a:pos x="14" y="134"/>
                  </a:cxn>
                  <a:cxn ang="0">
                    <a:pos x="14" y="62"/>
                  </a:cxn>
                  <a:cxn ang="0">
                    <a:pos x="10" y="60"/>
                  </a:cxn>
                  <a:cxn ang="0">
                    <a:pos x="0" y="60"/>
                  </a:cxn>
                  <a:cxn ang="0">
                    <a:pos x="0" y="50"/>
                  </a:cxn>
                  <a:cxn ang="0">
                    <a:pos x="67" y="4"/>
                  </a:cxn>
                  <a:cxn ang="0">
                    <a:pos x="75" y="4"/>
                  </a:cxn>
                  <a:cxn ang="0">
                    <a:pos x="145" y="47"/>
                  </a:cxn>
                  <a:cxn ang="0">
                    <a:pos x="145" y="57"/>
                  </a:cxn>
                  <a:cxn ang="0">
                    <a:pos x="141" y="61"/>
                  </a:cxn>
                  <a:cxn ang="0">
                    <a:pos x="136" y="61"/>
                  </a:cxn>
                  <a:cxn ang="0">
                    <a:pos x="136" y="135"/>
                  </a:cxn>
                </a:cxnLst>
                <a:rect l="0" t="0" r="r" b="b"/>
                <a:pathLst>
                  <a:path w="146" h="135">
                    <a:moveTo>
                      <a:pt x="14" y="134"/>
                    </a:move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2"/>
                      <a:pt x="15" y="60"/>
                      <a:pt x="1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51" y="16"/>
                      <a:pt x="67" y="4"/>
                    </a:cubicBezTo>
                    <a:cubicBezTo>
                      <a:pt x="69" y="3"/>
                      <a:pt x="71" y="0"/>
                      <a:pt x="75" y="4"/>
                    </a:cubicBezTo>
                    <a:cubicBezTo>
                      <a:pt x="80" y="7"/>
                      <a:pt x="145" y="47"/>
                      <a:pt x="145" y="47"/>
                    </a:cubicBezTo>
                    <a:cubicBezTo>
                      <a:pt x="145" y="57"/>
                      <a:pt x="145" y="57"/>
                      <a:pt x="145" y="57"/>
                    </a:cubicBezTo>
                    <a:cubicBezTo>
                      <a:pt x="145" y="57"/>
                      <a:pt x="146" y="61"/>
                      <a:pt x="141" y="61"/>
                    </a:cubicBezTo>
                    <a:cubicBezTo>
                      <a:pt x="136" y="61"/>
                      <a:pt x="136" y="61"/>
                      <a:pt x="136" y="61"/>
                    </a:cubicBezTo>
                    <a:cubicBezTo>
                      <a:pt x="136" y="135"/>
                      <a:pt x="136" y="135"/>
                      <a:pt x="136" y="135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40" name="Freeform 28"/>
              <p:cNvSpPr>
                <a:spLocks/>
              </p:cNvSpPr>
              <p:nvPr userDrawn="1"/>
            </p:nvSpPr>
            <p:spPr bwMode="auto">
              <a:xfrm>
                <a:off x="1717675" y="4592638"/>
                <a:ext cx="41275" cy="68263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3" y="28"/>
                  </a:cxn>
                </a:cxnLst>
                <a:rect l="0" t="0" r="r" b="b"/>
                <a:pathLst>
                  <a:path w="17" h="28">
                    <a:moveTo>
                      <a:pt x="17" y="0"/>
                    </a:moveTo>
                    <a:cubicBezTo>
                      <a:pt x="0" y="10"/>
                      <a:pt x="3" y="28"/>
                      <a:pt x="3" y="28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1342" name="Freeform 30"/>
              <p:cNvSpPr>
                <a:spLocks/>
              </p:cNvSpPr>
              <p:nvPr userDrawn="1"/>
            </p:nvSpPr>
            <p:spPr bwMode="auto">
              <a:xfrm>
                <a:off x="2090738" y="4595813"/>
                <a:ext cx="44450" cy="682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8"/>
                  </a:cxn>
                </a:cxnLst>
                <a:rect l="0" t="0" r="r" b="b"/>
                <a:pathLst>
                  <a:path w="18" h="28">
                    <a:moveTo>
                      <a:pt x="0" y="0"/>
                    </a:moveTo>
                    <a:cubicBezTo>
                      <a:pt x="18" y="10"/>
                      <a:pt x="14" y="28"/>
                      <a:pt x="14" y="28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4910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420077" y="2042156"/>
            <a:ext cx="5523523" cy="4225293"/>
          </a:xfrm>
        </p:spPr>
        <p:txBody>
          <a:bodyPr/>
          <a:lstStyle>
            <a:lvl1pPr>
              <a:buClr>
                <a:schemeClr val="accent3"/>
              </a:buClr>
              <a:defRPr sz="1867"/>
            </a:lvl1pPr>
            <a:lvl2pPr>
              <a:buClr>
                <a:schemeClr val="accent3"/>
              </a:buClr>
              <a:defRPr sz="1600"/>
            </a:lvl2pPr>
            <a:lvl3pPr>
              <a:buClr>
                <a:schemeClr val="accent3"/>
              </a:buClr>
              <a:defRPr sz="1467"/>
            </a:lvl3pPr>
            <a:lvl4pPr>
              <a:buClr>
                <a:schemeClr val="accent3"/>
              </a:buClr>
              <a:defRPr sz="1333"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6248401" y="2042156"/>
            <a:ext cx="5523524" cy="4225293"/>
          </a:xfrm>
        </p:spPr>
        <p:txBody>
          <a:bodyPr/>
          <a:lstStyle>
            <a:lvl1pPr>
              <a:buClr>
                <a:schemeClr val="accent3"/>
              </a:buClr>
              <a:defRPr sz="1867"/>
            </a:lvl1pPr>
            <a:lvl2pPr>
              <a:buClr>
                <a:schemeClr val="accent3"/>
              </a:buClr>
              <a:defRPr sz="1600"/>
            </a:lvl2pPr>
            <a:lvl3pPr>
              <a:buClr>
                <a:schemeClr val="accent3"/>
              </a:buClr>
              <a:defRPr sz="1467"/>
            </a:lvl3pPr>
            <a:lvl4pPr>
              <a:buClr>
                <a:schemeClr val="accent3"/>
              </a:buClr>
              <a:defRPr sz="1333"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420077" y="1495425"/>
            <a:ext cx="5523523" cy="548640"/>
          </a:xfrm>
        </p:spPr>
        <p:txBody>
          <a:bodyPr vert="horz" lIns="0" tIns="28173" rIns="28173" bIns="28173" rtlCol="0">
            <a:noAutofit/>
          </a:bodyPr>
          <a:lstStyle>
            <a:lvl1pPr algn="l">
              <a:buNone/>
              <a:defRPr lang="en-US" sz="2133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1038910" rtl="0" eaLnBrk="1" latinLnBrk="0" hangingPunct="1">
              <a:spcBef>
                <a:spcPts val="0"/>
              </a:spcBef>
              <a:spcAft>
                <a:spcPts val="681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248401" y="1495425"/>
            <a:ext cx="5523524" cy="548640"/>
          </a:xfrm>
        </p:spPr>
        <p:txBody>
          <a:bodyPr vert="horz" lIns="0" tIns="28173" rIns="28173" bIns="28173" rtlCol="0">
            <a:noAutofit/>
          </a:bodyPr>
          <a:lstStyle>
            <a:lvl1pPr algn="l">
              <a:buNone/>
              <a:defRPr lang="en-US" sz="2133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38910" rtl="0" eaLnBrk="1" latinLnBrk="0" hangingPunct="1">
              <a:spcBef>
                <a:spcPts val="0"/>
              </a:spcBef>
              <a:spcAft>
                <a:spcPts val="681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8912194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92024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655594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10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0476" cy="1033832"/>
          </a:xfrm>
          <a:prstGeom prst="rect">
            <a:avLst/>
          </a:prstGeom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6296026"/>
            <a:ext cx="12188955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12192000" cy="633047"/>
          </a:xfrm>
          <a:prstGeom prst="rect">
            <a:avLst/>
          </a:prstGeom>
        </p:spPr>
        <p:txBody>
          <a:bodyPr lIns="360000" tIns="36000" rIns="72000" bIns="36000" anchor="ctr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7" name="TextBox 6"/>
          <p:cNvSpPr txBox="1"/>
          <p:nvPr userDrawn="1">
            <p:custDataLst>
              <p:tags r:id="rId1"/>
            </p:custDataLst>
          </p:nvPr>
        </p:nvSpPr>
        <p:spPr>
          <a:xfrm>
            <a:off x="11881961" y="6542713"/>
            <a:ext cx="157094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1088239"/>
            <a:fld id="{6A895693-0027-4F28-9367-92E39A51F51C}" type="slidenum">
              <a:rPr lang="en-US" sz="1000">
                <a:solidFill>
                  <a:srgbClr val="998C85"/>
                </a:solidFill>
              </a:rPr>
              <a:pPr algn="ctr" defTabSz="1088239"/>
              <a:t>‹#›</a:t>
            </a:fld>
            <a:endParaRPr lang="en-US" sz="1000" dirty="0">
              <a:solidFill>
                <a:srgbClr val="998C85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455901" y="6640989"/>
            <a:ext cx="327463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20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900" dirty="0">
                <a:solidFill>
                  <a:srgbClr val="998C85"/>
                </a:solidFill>
                <a:cs typeface="Helvetica Light"/>
              </a:rPr>
              <a:t>Copyright © Capgemini 2017. All Rights Reserved</a:t>
            </a:r>
          </a:p>
        </p:txBody>
      </p:sp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9374165" y="6444806"/>
            <a:ext cx="2356375" cy="195815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defTabSz="1088239"/>
            <a:r>
              <a:rPr lang="en-US" sz="900" dirty="0">
                <a:solidFill>
                  <a:srgbClr val="998C85"/>
                </a:solidFill>
              </a:rPr>
              <a:t>Financial Services  |  Apr 2017</a:t>
            </a:r>
          </a:p>
        </p:txBody>
      </p:sp>
    </p:spTree>
    <p:extLst>
      <p:ext uri="{BB962C8B-B14F-4D97-AF65-F5344CB8AC3E}">
        <p14:creationId xmlns:p14="http://schemas.microsoft.com/office/powerpoint/2010/main" val="42521749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08289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1" descr="test1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1247507"/>
            <a:ext cx="12191996" cy="5476644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525" y="1"/>
            <a:ext cx="12195119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rgbClr val="FFFFFF"/>
          </a:solidFill>
          <a:ln w="12700" cmpd="sng" algn="ctr">
            <a:noFill/>
            <a:miter lim="800000"/>
            <a:headEnd/>
            <a:tailEnd/>
          </a:ln>
          <a:effectLst>
            <a:outerShdw blurRad="50800" dist="25400" dir="5400000" algn="t" rotWithShape="0">
              <a:srgbClr val="000000">
                <a:lumMod val="75000"/>
                <a:lumOff val="25000"/>
                <a:alpha val="40000"/>
              </a:srgbClr>
            </a:outerShdw>
          </a:effectLst>
        </p:spPr>
        <p:txBody>
          <a:bodyPr wrap="square" lIns="37564" tIns="48832" rIns="37564" bIns="48832" rtlCol="0" anchor="ctr"/>
          <a:lstStyle/>
          <a:p>
            <a:pPr algn="ctr" defTabSz="1088239">
              <a:defRPr/>
            </a:pPr>
            <a:endParaRPr lang="en-US" sz="1200" dirty="0">
              <a:solidFill>
                <a:srgbClr val="FFFFFF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473" y="673955"/>
            <a:ext cx="2926080" cy="688491"/>
          </a:xfrm>
          <a:prstGeom prst="rect">
            <a:avLst/>
          </a:prstGeom>
          <a:noFill/>
        </p:spPr>
      </p:pic>
      <p:sp>
        <p:nvSpPr>
          <p:cNvPr id="21" name="Rectangle 20"/>
          <p:cNvSpPr/>
          <p:nvPr userDrawn="1"/>
        </p:nvSpPr>
        <p:spPr>
          <a:xfrm>
            <a:off x="0" y="6370320"/>
            <a:ext cx="12192000" cy="487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959" tIns="55980" rIns="111959" bIns="55980" rtlCol="0" anchor="ctr"/>
          <a:lstStyle/>
          <a:p>
            <a:pPr algn="ctr" defTabSz="1088239"/>
            <a:endParaRPr lang="en-US" sz="1733" dirty="0">
              <a:solidFill>
                <a:prstClr val="white"/>
              </a:solidFill>
            </a:endParaRPr>
          </a:p>
        </p:txBody>
      </p:sp>
      <p:pic>
        <p:nvPicPr>
          <p:cNvPr id="22" name="Picture 104" descr="C:\Users\UserSim\Desktop\Capgemini\moto.emf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442537" y="6492699"/>
            <a:ext cx="2926080" cy="2429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842810" y="639403"/>
            <a:ext cx="2758844" cy="757596"/>
          </a:xfrm>
          <a:prstGeom prst="rect">
            <a:avLst/>
          </a:prstGeom>
          <a:noFill/>
        </p:spPr>
      </p:pic>
      <p:sp>
        <p:nvSpPr>
          <p:cNvPr id="14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571500" y="3213101"/>
            <a:ext cx="6400800" cy="467330"/>
          </a:xfrm>
        </p:spPr>
        <p:txBody>
          <a:bodyPr wrap="square" rIns="0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667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571500" y="4467987"/>
            <a:ext cx="6400800" cy="344219"/>
          </a:xfrm>
        </p:spPr>
        <p:txBody>
          <a:bodyPr wrap="square" rIns="0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2700" y="5681134"/>
            <a:ext cx="12179301" cy="584201"/>
            <a:chOff x="9525" y="4260850"/>
            <a:chExt cx="9134476" cy="438151"/>
          </a:xfrm>
        </p:grpSpPr>
        <p:sp>
          <p:nvSpPr>
            <p:cNvPr id="16" name="Line 15"/>
            <p:cNvSpPr>
              <a:spLocks noChangeShapeType="1"/>
            </p:cNvSpPr>
            <p:nvPr userDrawn="1"/>
          </p:nvSpPr>
          <p:spPr bwMode="auto">
            <a:xfrm flipH="1">
              <a:off x="9525" y="4668838"/>
              <a:ext cx="415290" cy="0"/>
            </a:xfrm>
            <a:prstGeom prst="line">
              <a:avLst/>
            </a:prstGeom>
            <a:noFill/>
            <a:ln w="11113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88239"/>
              <a:endParaRPr lang="en-US" sz="2133" dirty="0">
                <a:solidFill>
                  <a:srgbClr val="00234B"/>
                </a:solidFill>
              </a:endParaRPr>
            </a:p>
          </p:txBody>
        </p:sp>
        <p:sp>
          <p:nvSpPr>
            <p:cNvPr id="18" name="Line 29"/>
            <p:cNvSpPr>
              <a:spLocks noChangeShapeType="1"/>
            </p:cNvSpPr>
            <p:nvPr userDrawn="1"/>
          </p:nvSpPr>
          <p:spPr bwMode="auto">
            <a:xfrm>
              <a:off x="2042161" y="4668838"/>
              <a:ext cx="7101840" cy="0"/>
            </a:xfrm>
            <a:prstGeom prst="line">
              <a:avLst/>
            </a:prstGeom>
            <a:noFill/>
            <a:ln w="11113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88239"/>
              <a:endParaRPr lang="en-US" sz="2133" dirty="0">
                <a:solidFill>
                  <a:srgbClr val="00234B"/>
                </a:solidFill>
              </a:endParaRPr>
            </a:p>
          </p:txBody>
        </p:sp>
        <p:grpSp>
          <p:nvGrpSpPr>
            <p:cNvPr id="19" name="Group 36"/>
            <p:cNvGrpSpPr/>
            <p:nvPr userDrawn="1"/>
          </p:nvGrpSpPr>
          <p:grpSpPr>
            <a:xfrm>
              <a:off x="428625" y="4260850"/>
              <a:ext cx="1624013" cy="438151"/>
              <a:chOff x="511175" y="4260850"/>
              <a:chExt cx="1624013" cy="438151"/>
            </a:xfrm>
          </p:grpSpPr>
          <p:sp>
            <p:nvSpPr>
              <p:cNvPr id="20" name="Freeform 9"/>
              <p:cNvSpPr>
                <a:spLocks/>
              </p:cNvSpPr>
              <p:nvPr userDrawn="1"/>
            </p:nvSpPr>
            <p:spPr bwMode="auto">
              <a:xfrm>
                <a:off x="511175" y="4422775"/>
                <a:ext cx="476250" cy="109538"/>
              </a:xfrm>
              <a:custGeom>
                <a:avLst/>
                <a:gdLst/>
                <a:ahLst/>
                <a:cxnLst>
                  <a:cxn ang="0">
                    <a:pos x="1" y="45"/>
                  </a:cxn>
                  <a:cxn ang="0">
                    <a:pos x="1" y="8"/>
                  </a:cxn>
                  <a:cxn ang="0">
                    <a:pos x="8" y="0"/>
                  </a:cxn>
                  <a:cxn ang="0">
                    <a:pos x="188" y="0"/>
                  </a:cxn>
                  <a:cxn ang="0">
                    <a:pos x="195" y="8"/>
                  </a:cxn>
                  <a:cxn ang="0">
                    <a:pos x="195" y="23"/>
                  </a:cxn>
                  <a:cxn ang="0">
                    <a:pos x="16" y="23"/>
                  </a:cxn>
                </a:cxnLst>
                <a:rect l="0" t="0" r="r" b="b"/>
                <a:pathLst>
                  <a:path w="195" h="45">
                    <a:moveTo>
                      <a:pt x="1" y="45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3" y="0"/>
                      <a:pt x="195" y="4"/>
                      <a:pt x="195" y="8"/>
                    </a:cubicBezTo>
                    <a:cubicBezTo>
                      <a:pt x="195" y="23"/>
                      <a:pt x="195" y="23"/>
                      <a:pt x="195" y="23"/>
                    </a:cubicBezTo>
                    <a:cubicBezTo>
                      <a:pt x="16" y="23"/>
                      <a:pt x="16" y="23"/>
                      <a:pt x="16" y="23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3" name="Freeform 10"/>
              <p:cNvSpPr>
                <a:spLocks/>
              </p:cNvSpPr>
              <p:nvPr userDrawn="1"/>
            </p:nvSpPr>
            <p:spPr bwMode="auto">
              <a:xfrm>
                <a:off x="511175" y="4532313"/>
                <a:ext cx="476250" cy="166688"/>
              </a:xfrm>
              <a:custGeom>
                <a:avLst/>
                <a:gdLst/>
                <a:ahLst/>
                <a:cxnLst>
                  <a:cxn ang="0">
                    <a:pos x="180" y="0"/>
                  </a:cxn>
                  <a:cxn ang="0">
                    <a:pos x="1" y="0"/>
                  </a:cxn>
                  <a:cxn ang="0">
                    <a:pos x="1" y="60"/>
                  </a:cxn>
                  <a:cxn ang="0">
                    <a:pos x="8" y="68"/>
                  </a:cxn>
                  <a:cxn ang="0">
                    <a:pos x="188" y="68"/>
                  </a:cxn>
                  <a:cxn ang="0">
                    <a:pos x="195" y="60"/>
                  </a:cxn>
                  <a:cxn ang="0">
                    <a:pos x="195" y="0"/>
                  </a:cxn>
                </a:cxnLst>
                <a:rect l="0" t="0" r="r" b="b"/>
                <a:pathLst>
                  <a:path w="195" h="68">
                    <a:moveTo>
                      <a:pt x="18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5"/>
                      <a:pt x="3" y="68"/>
                      <a:pt x="8" y="68"/>
                    </a:cubicBezTo>
                    <a:cubicBezTo>
                      <a:pt x="188" y="68"/>
                      <a:pt x="188" y="68"/>
                      <a:pt x="188" y="68"/>
                    </a:cubicBezTo>
                    <a:cubicBezTo>
                      <a:pt x="192" y="68"/>
                      <a:pt x="195" y="65"/>
                      <a:pt x="195" y="60"/>
                    </a:cubicBezTo>
                    <a:cubicBezTo>
                      <a:pt x="195" y="0"/>
                      <a:pt x="195" y="0"/>
                      <a:pt x="195" y="0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4" name="Rectangle 11"/>
              <p:cNvSpPr>
                <a:spLocks noChangeArrowheads="1"/>
              </p:cNvSpPr>
              <p:nvPr userDrawn="1"/>
            </p:nvSpPr>
            <p:spPr bwMode="auto">
              <a:xfrm>
                <a:off x="860425" y="4618038"/>
                <a:ext cx="92075" cy="41275"/>
              </a:xfrm>
              <a:prstGeom prst="rect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5" name="Line 12"/>
              <p:cNvSpPr>
                <a:spLocks noChangeShapeType="1"/>
              </p:cNvSpPr>
              <p:nvPr userDrawn="1"/>
            </p:nvSpPr>
            <p:spPr bwMode="auto">
              <a:xfrm>
                <a:off x="554038" y="4659313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6" name="Line 13"/>
              <p:cNvSpPr>
                <a:spLocks noChangeShapeType="1"/>
              </p:cNvSpPr>
              <p:nvPr userDrawn="1"/>
            </p:nvSpPr>
            <p:spPr bwMode="auto">
              <a:xfrm>
                <a:off x="554038" y="4637088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7" name="Line 14"/>
              <p:cNvSpPr>
                <a:spLocks noChangeShapeType="1"/>
              </p:cNvSpPr>
              <p:nvPr userDrawn="1"/>
            </p:nvSpPr>
            <p:spPr bwMode="auto">
              <a:xfrm>
                <a:off x="554038" y="4618038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8" name="Line 16"/>
              <p:cNvSpPr>
                <a:spLocks noChangeShapeType="1"/>
              </p:cNvSpPr>
              <p:nvPr userDrawn="1"/>
            </p:nvSpPr>
            <p:spPr bwMode="auto">
              <a:xfrm flipH="1">
                <a:off x="989013" y="4667250"/>
                <a:ext cx="152400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9" name="Line 17"/>
              <p:cNvSpPr>
                <a:spLocks noChangeShapeType="1"/>
              </p:cNvSpPr>
              <p:nvPr userDrawn="1"/>
            </p:nvSpPr>
            <p:spPr bwMode="auto">
              <a:xfrm flipH="1">
                <a:off x="1573213" y="4667250"/>
                <a:ext cx="150813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0" name="Freeform 18"/>
              <p:cNvSpPr>
                <a:spLocks/>
              </p:cNvSpPr>
              <p:nvPr userDrawn="1"/>
            </p:nvSpPr>
            <p:spPr bwMode="auto">
              <a:xfrm>
                <a:off x="1160463" y="4279900"/>
                <a:ext cx="322263" cy="333375"/>
              </a:xfrm>
              <a:custGeom>
                <a:avLst/>
                <a:gdLst/>
                <a:ahLst/>
                <a:cxnLst>
                  <a:cxn ang="0">
                    <a:pos x="132" y="21"/>
                  </a:cxn>
                  <a:cxn ang="0">
                    <a:pos x="79" y="0"/>
                  </a:cxn>
                  <a:cxn ang="0">
                    <a:pos x="0" y="78"/>
                  </a:cxn>
                  <a:cxn ang="0">
                    <a:pos x="26" y="136"/>
                  </a:cxn>
                </a:cxnLst>
                <a:rect l="0" t="0" r="r" b="b"/>
                <a:pathLst>
                  <a:path w="132" h="136">
                    <a:moveTo>
                      <a:pt x="132" y="21"/>
                    </a:moveTo>
                    <a:cubicBezTo>
                      <a:pt x="118" y="8"/>
                      <a:pt x="99" y="0"/>
                      <a:pt x="79" y="0"/>
                    </a:cubicBezTo>
                    <a:cubicBezTo>
                      <a:pt x="35" y="0"/>
                      <a:pt x="0" y="35"/>
                      <a:pt x="0" y="78"/>
                    </a:cubicBezTo>
                    <a:cubicBezTo>
                      <a:pt x="0" y="101"/>
                      <a:pt x="10" y="122"/>
                      <a:pt x="26" y="136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1" name="Freeform 19"/>
              <p:cNvSpPr>
                <a:spLocks/>
              </p:cNvSpPr>
              <p:nvPr userDrawn="1"/>
            </p:nvSpPr>
            <p:spPr bwMode="auto">
              <a:xfrm>
                <a:off x="1484313" y="4418013"/>
                <a:ext cx="58738" cy="192088"/>
              </a:xfrm>
              <a:custGeom>
                <a:avLst/>
                <a:gdLst/>
                <a:ahLst/>
                <a:cxnLst>
                  <a:cxn ang="0">
                    <a:pos x="0" y="79"/>
                  </a:cxn>
                  <a:cxn ang="0">
                    <a:pos x="24" y="22"/>
                  </a:cxn>
                  <a:cxn ang="0">
                    <a:pos x="21" y="0"/>
                  </a:cxn>
                </a:cxnLst>
                <a:rect l="0" t="0" r="r" b="b"/>
                <a:pathLst>
                  <a:path w="24" h="79">
                    <a:moveTo>
                      <a:pt x="0" y="79"/>
                    </a:moveTo>
                    <a:cubicBezTo>
                      <a:pt x="15" y="65"/>
                      <a:pt x="24" y="45"/>
                      <a:pt x="24" y="22"/>
                    </a:cubicBezTo>
                    <a:cubicBezTo>
                      <a:pt x="24" y="15"/>
                      <a:pt x="23" y="7"/>
                      <a:pt x="21" y="0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2" name="Freeform 20"/>
              <p:cNvSpPr>
                <a:spLocks/>
              </p:cNvSpPr>
              <p:nvPr userDrawn="1"/>
            </p:nvSpPr>
            <p:spPr bwMode="auto">
              <a:xfrm>
                <a:off x="1441450" y="4332288"/>
                <a:ext cx="123825" cy="1143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32"/>
                  </a:cxn>
                  <a:cxn ang="0">
                    <a:pos x="0" y="32"/>
                  </a:cxn>
                  <a:cxn ang="0">
                    <a:pos x="38" y="72"/>
                  </a:cxn>
                  <a:cxn ang="0">
                    <a:pos x="78" y="32"/>
                  </a:cxn>
                  <a:cxn ang="0">
                    <a:pos x="54" y="32"/>
                  </a:cxn>
                  <a:cxn ang="0">
                    <a:pos x="54" y="0"/>
                  </a:cxn>
                </a:cxnLst>
                <a:rect l="0" t="0" r="r" b="b"/>
                <a:pathLst>
                  <a:path w="78" h="72">
                    <a:moveTo>
                      <a:pt x="26" y="0"/>
                    </a:moveTo>
                    <a:lnTo>
                      <a:pt x="26" y="32"/>
                    </a:lnTo>
                    <a:lnTo>
                      <a:pt x="0" y="32"/>
                    </a:lnTo>
                    <a:lnTo>
                      <a:pt x="38" y="72"/>
                    </a:lnTo>
                    <a:lnTo>
                      <a:pt x="78" y="32"/>
                    </a:lnTo>
                    <a:lnTo>
                      <a:pt x="54" y="32"/>
                    </a:lnTo>
                    <a:lnTo>
                      <a:pt x="54" y="0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3" name="Freeform 21"/>
              <p:cNvSpPr>
                <a:spLocks/>
              </p:cNvSpPr>
              <p:nvPr userDrawn="1"/>
            </p:nvSpPr>
            <p:spPr bwMode="auto">
              <a:xfrm>
                <a:off x="1141413" y="4613275"/>
                <a:ext cx="431800" cy="53975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0" y="22"/>
                  </a:cxn>
                  <a:cxn ang="0">
                    <a:pos x="22" y="0"/>
                  </a:cxn>
                  <a:cxn ang="0">
                    <a:pos x="155" y="0"/>
                  </a:cxn>
                  <a:cxn ang="0">
                    <a:pos x="177" y="22"/>
                  </a:cxn>
                </a:cxnLst>
                <a:rect l="0" t="0" r="r" b="b"/>
                <a:pathLst>
                  <a:path w="177" h="22">
                    <a:moveTo>
                      <a:pt x="0" y="22"/>
                    </a:move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67" y="0"/>
                      <a:pt x="177" y="10"/>
                      <a:pt x="177" y="22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4" name="Freeform 22"/>
              <p:cNvSpPr>
                <a:spLocks/>
              </p:cNvSpPr>
              <p:nvPr userDrawn="1"/>
            </p:nvSpPr>
            <p:spPr bwMode="auto">
              <a:xfrm>
                <a:off x="1270000" y="4327525"/>
                <a:ext cx="141288" cy="249238"/>
              </a:xfrm>
              <a:custGeom>
                <a:avLst/>
                <a:gdLst/>
                <a:ahLst/>
                <a:cxnLst>
                  <a:cxn ang="0">
                    <a:pos x="24" y="59"/>
                  </a:cxn>
                  <a:cxn ang="0">
                    <a:pos x="35" y="67"/>
                  </a:cxn>
                  <a:cxn ang="0">
                    <a:pos x="26" y="73"/>
                  </a:cxn>
                  <a:cxn ang="0">
                    <a:pos x="8" y="69"/>
                  </a:cxn>
                  <a:cxn ang="0">
                    <a:pos x="7" y="68"/>
                  </a:cxn>
                  <a:cxn ang="0">
                    <a:pos x="4" y="71"/>
                  </a:cxn>
                  <a:cxn ang="0">
                    <a:pos x="1" y="83"/>
                  </a:cxn>
                  <a:cxn ang="0">
                    <a:pos x="3" y="86"/>
                  </a:cxn>
                  <a:cxn ang="0">
                    <a:pos x="21" y="91"/>
                  </a:cxn>
                  <a:cxn ang="0">
                    <a:pos x="21" y="99"/>
                  </a:cxn>
                  <a:cxn ang="0">
                    <a:pos x="24" y="102"/>
                  </a:cxn>
                  <a:cxn ang="0">
                    <a:pos x="34" y="102"/>
                  </a:cxn>
                  <a:cxn ang="0">
                    <a:pos x="37" y="99"/>
                  </a:cxn>
                  <a:cxn ang="0">
                    <a:pos x="37" y="89"/>
                  </a:cxn>
                  <a:cxn ang="0">
                    <a:pos x="58" y="65"/>
                  </a:cxn>
                  <a:cxn ang="0">
                    <a:pos x="36" y="41"/>
                  </a:cxn>
                  <a:cxn ang="0">
                    <a:pos x="23" y="33"/>
                  </a:cxn>
                  <a:cxn ang="0">
                    <a:pos x="31" y="28"/>
                  </a:cxn>
                  <a:cxn ang="0">
                    <a:pos x="46" y="31"/>
                  </a:cxn>
                  <a:cxn ang="0">
                    <a:pos x="47" y="32"/>
                  </a:cxn>
                  <a:cxn ang="0">
                    <a:pos x="50" y="29"/>
                  </a:cxn>
                  <a:cxn ang="0">
                    <a:pos x="53" y="18"/>
                  </a:cxn>
                  <a:cxn ang="0">
                    <a:pos x="51" y="14"/>
                  </a:cxn>
                  <a:cxn ang="0">
                    <a:pos x="36" y="11"/>
                  </a:cxn>
                  <a:cxn ang="0">
                    <a:pos x="36" y="3"/>
                  </a:cxn>
                  <a:cxn ang="0">
                    <a:pos x="32" y="0"/>
                  </a:cxn>
                  <a:cxn ang="0">
                    <a:pos x="23" y="0"/>
                  </a:cxn>
                  <a:cxn ang="0">
                    <a:pos x="20" y="4"/>
                  </a:cxn>
                  <a:cxn ang="0">
                    <a:pos x="20" y="12"/>
                  </a:cxn>
                  <a:cxn ang="0">
                    <a:pos x="0" y="36"/>
                  </a:cxn>
                  <a:cxn ang="0">
                    <a:pos x="24" y="59"/>
                  </a:cxn>
                </a:cxnLst>
                <a:rect l="0" t="0" r="r" b="b"/>
                <a:pathLst>
                  <a:path w="58" h="102">
                    <a:moveTo>
                      <a:pt x="24" y="59"/>
                    </a:moveTo>
                    <a:cubicBezTo>
                      <a:pt x="33" y="62"/>
                      <a:pt x="35" y="64"/>
                      <a:pt x="35" y="67"/>
                    </a:cubicBezTo>
                    <a:cubicBezTo>
                      <a:pt x="35" y="71"/>
                      <a:pt x="30" y="73"/>
                      <a:pt x="26" y="73"/>
                    </a:cubicBezTo>
                    <a:cubicBezTo>
                      <a:pt x="18" y="73"/>
                      <a:pt x="12" y="70"/>
                      <a:pt x="8" y="69"/>
                    </a:cubicBezTo>
                    <a:cubicBezTo>
                      <a:pt x="8" y="68"/>
                      <a:pt x="7" y="68"/>
                      <a:pt x="7" y="68"/>
                    </a:cubicBezTo>
                    <a:cubicBezTo>
                      <a:pt x="5" y="68"/>
                      <a:pt x="4" y="69"/>
                      <a:pt x="4" y="71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4"/>
                      <a:pt x="1" y="86"/>
                      <a:pt x="3" y="86"/>
                    </a:cubicBezTo>
                    <a:cubicBezTo>
                      <a:pt x="8" y="89"/>
                      <a:pt x="15" y="90"/>
                      <a:pt x="21" y="91"/>
                    </a:cubicBezTo>
                    <a:cubicBezTo>
                      <a:pt x="21" y="99"/>
                      <a:pt x="21" y="99"/>
                      <a:pt x="21" y="99"/>
                    </a:cubicBezTo>
                    <a:cubicBezTo>
                      <a:pt x="21" y="101"/>
                      <a:pt x="23" y="102"/>
                      <a:pt x="2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6" y="102"/>
                      <a:pt x="37" y="100"/>
                      <a:pt x="37" y="99"/>
                    </a:cubicBezTo>
                    <a:cubicBezTo>
                      <a:pt x="37" y="89"/>
                      <a:pt x="37" y="89"/>
                      <a:pt x="37" y="89"/>
                    </a:cubicBezTo>
                    <a:cubicBezTo>
                      <a:pt x="50" y="86"/>
                      <a:pt x="58" y="77"/>
                      <a:pt x="58" y="65"/>
                    </a:cubicBezTo>
                    <a:cubicBezTo>
                      <a:pt x="57" y="53"/>
                      <a:pt x="51" y="46"/>
                      <a:pt x="36" y="41"/>
                    </a:cubicBezTo>
                    <a:cubicBezTo>
                      <a:pt x="26" y="38"/>
                      <a:pt x="23" y="36"/>
                      <a:pt x="23" y="33"/>
                    </a:cubicBezTo>
                    <a:cubicBezTo>
                      <a:pt x="23" y="29"/>
                      <a:pt x="28" y="28"/>
                      <a:pt x="31" y="28"/>
                    </a:cubicBezTo>
                    <a:cubicBezTo>
                      <a:pt x="38" y="28"/>
                      <a:pt x="43" y="30"/>
                      <a:pt x="46" y="3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32"/>
                      <a:pt x="50" y="31"/>
                      <a:pt x="50" y="29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6"/>
                      <a:pt x="53" y="14"/>
                      <a:pt x="51" y="14"/>
                    </a:cubicBezTo>
                    <a:cubicBezTo>
                      <a:pt x="46" y="12"/>
                      <a:pt x="41" y="11"/>
                      <a:pt x="36" y="11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6" y="1"/>
                      <a:pt x="34" y="0"/>
                      <a:pt x="32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1" y="0"/>
                      <a:pt x="20" y="2"/>
                      <a:pt x="20" y="4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7" y="15"/>
                      <a:pt x="0" y="24"/>
                      <a:pt x="0" y="36"/>
                    </a:cubicBezTo>
                    <a:cubicBezTo>
                      <a:pt x="1" y="50"/>
                      <a:pt x="13" y="56"/>
                      <a:pt x="24" y="59"/>
                    </a:cubicBezTo>
                    <a:close/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5" name="Oval 23"/>
              <p:cNvSpPr>
                <a:spLocks noChangeArrowheads="1"/>
              </p:cNvSpPr>
              <p:nvPr userDrawn="1"/>
            </p:nvSpPr>
            <p:spPr bwMode="auto">
              <a:xfrm>
                <a:off x="1887538" y="4314825"/>
                <a:ext cx="49213" cy="55563"/>
              </a:xfrm>
              <a:prstGeom prst="ellips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6" name="Freeform 24"/>
              <p:cNvSpPr>
                <a:spLocks/>
              </p:cNvSpPr>
              <p:nvPr userDrawn="1"/>
            </p:nvSpPr>
            <p:spPr bwMode="auto">
              <a:xfrm>
                <a:off x="1985963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7" name="Freeform 25"/>
              <p:cNvSpPr>
                <a:spLocks/>
              </p:cNvSpPr>
              <p:nvPr userDrawn="1"/>
            </p:nvSpPr>
            <p:spPr bwMode="auto">
              <a:xfrm>
                <a:off x="1895475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8" name="Freeform 26"/>
              <p:cNvSpPr>
                <a:spLocks/>
              </p:cNvSpPr>
              <p:nvPr userDrawn="1"/>
            </p:nvSpPr>
            <p:spPr bwMode="auto">
              <a:xfrm>
                <a:off x="1809750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9" name="Freeform 27"/>
              <p:cNvSpPr>
                <a:spLocks/>
              </p:cNvSpPr>
              <p:nvPr userDrawn="1"/>
            </p:nvSpPr>
            <p:spPr bwMode="auto">
              <a:xfrm>
                <a:off x="1741488" y="4260850"/>
                <a:ext cx="357188" cy="330200"/>
              </a:xfrm>
              <a:custGeom>
                <a:avLst/>
                <a:gdLst/>
                <a:ahLst/>
                <a:cxnLst>
                  <a:cxn ang="0">
                    <a:pos x="14" y="134"/>
                  </a:cxn>
                  <a:cxn ang="0">
                    <a:pos x="14" y="62"/>
                  </a:cxn>
                  <a:cxn ang="0">
                    <a:pos x="10" y="60"/>
                  </a:cxn>
                  <a:cxn ang="0">
                    <a:pos x="0" y="60"/>
                  </a:cxn>
                  <a:cxn ang="0">
                    <a:pos x="0" y="50"/>
                  </a:cxn>
                  <a:cxn ang="0">
                    <a:pos x="67" y="4"/>
                  </a:cxn>
                  <a:cxn ang="0">
                    <a:pos x="75" y="4"/>
                  </a:cxn>
                  <a:cxn ang="0">
                    <a:pos x="145" y="47"/>
                  </a:cxn>
                  <a:cxn ang="0">
                    <a:pos x="145" y="57"/>
                  </a:cxn>
                  <a:cxn ang="0">
                    <a:pos x="141" y="61"/>
                  </a:cxn>
                  <a:cxn ang="0">
                    <a:pos x="136" y="61"/>
                  </a:cxn>
                  <a:cxn ang="0">
                    <a:pos x="136" y="135"/>
                  </a:cxn>
                </a:cxnLst>
                <a:rect l="0" t="0" r="r" b="b"/>
                <a:pathLst>
                  <a:path w="146" h="135">
                    <a:moveTo>
                      <a:pt x="14" y="134"/>
                    </a:move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2"/>
                      <a:pt x="15" y="60"/>
                      <a:pt x="1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51" y="16"/>
                      <a:pt x="67" y="4"/>
                    </a:cubicBezTo>
                    <a:cubicBezTo>
                      <a:pt x="69" y="3"/>
                      <a:pt x="71" y="0"/>
                      <a:pt x="75" y="4"/>
                    </a:cubicBezTo>
                    <a:cubicBezTo>
                      <a:pt x="80" y="7"/>
                      <a:pt x="145" y="47"/>
                      <a:pt x="145" y="47"/>
                    </a:cubicBezTo>
                    <a:cubicBezTo>
                      <a:pt x="145" y="57"/>
                      <a:pt x="145" y="57"/>
                      <a:pt x="145" y="57"/>
                    </a:cubicBezTo>
                    <a:cubicBezTo>
                      <a:pt x="145" y="57"/>
                      <a:pt x="146" y="61"/>
                      <a:pt x="141" y="61"/>
                    </a:cubicBezTo>
                    <a:cubicBezTo>
                      <a:pt x="136" y="61"/>
                      <a:pt x="136" y="61"/>
                      <a:pt x="136" y="61"/>
                    </a:cubicBezTo>
                    <a:cubicBezTo>
                      <a:pt x="136" y="135"/>
                      <a:pt x="136" y="135"/>
                      <a:pt x="136" y="135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40" name="Freeform 28"/>
              <p:cNvSpPr>
                <a:spLocks/>
              </p:cNvSpPr>
              <p:nvPr userDrawn="1"/>
            </p:nvSpPr>
            <p:spPr bwMode="auto">
              <a:xfrm>
                <a:off x="1717675" y="4592638"/>
                <a:ext cx="41275" cy="68263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3" y="28"/>
                  </a:cxn>
                </a:cxnLst>
                <a:rect l="0" t="0" r="r" b="b"/>
                <a:pathLst>
                  <a:path w="17" h="28">
                    <a:moveTo>
                      <a:pt x="17" y="0"/>
                    </a:moveTo>
                    <a:cubicBezTo>
                      <a:pt x="0" y="10"/>
                      <a:pt x="3" y="28"/>
                      <a:pt x="3" y="28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41" name="Freeform 30"/>
              <p:cNvSpPr>
                <a:spLocks/>
              </p:cNvSpPr>
              <p:nvPr userDrawn="1"/>
            </p:nvSpPr>
            <p:spPr bwMode="auto">
              <a:xfrm>
                <a:off x="2090738" y="4595813"/>
                <a:ext cx="44450" cy="682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8"/>
                  </a:cxn>
                </a:cxnLst>
                <a:rect l="0" t="0" r="r" b="b"/>
                <a:pathLst>
                  <a:path w="18" h="28">
                    <a:moveTo>
                      <a:pt x="0" y="0"/>
                    </a:moveTo>
                    <a:cubicBezTo>
                      <a:pt x="18" y="10"/>
                      <a:pt x="14" y="28"/>
                      <a:pt x="14" y="28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27051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1" descr="test1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1247507"/>
            <a:ext cx="12191993" cy="5476644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-2525" y="1"/>
            <a:ext cx="12195119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rgbClr val="FFFFFF"/>
          </a:solidFill>
          <a:ln w="12700" cmpd="sng" algn="ctr">
            <a:noFill/>
            <a:miter lim="800000"/>
            <a:headEnd/>
            <a:tailEnd/>
          </a:ln>
          <a:effectLst>
            <a:outerShdw blurRad="50800" dist="25400" dir="5400000" algn="t" rotWithShape="0">
              <a:srgbClr val="000000">
                <a:lumMod val="75000"/>
                <a:lumOff val="25000"/>
                <a:alpha val="40000"/>
              </a:srgbClr>
            </a:outerShdw>
          </a:effectLst>
        </p:spPr>
        <p:txBody>
          <a:bodyPr wrap="square" lIns="37564" tIns="48832" rIns="37564" bIns="48832" rtlCol="0" anchor="ctr"/>
          <a:lstStyle/>
          <a:p>
            <a:pPr algn="ctr" defTabSz="1088239">
              <a:defRPr/>
            </a:pPr>
            <a:endParaRPr lang="en-US" sz="1200" dirty="0">
              <a:solidFill>
                <a:srgbClr val="FFFFFF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473" y="673955"/>
            <a:ext cx="2926080" cy="688491"/>
          </a:xfrm>
          <a:prstGeom prst="rect">
            <a:avLst/>
          </a:prstGeom>
          <a:noFill/>
        </p:spPr>
      </p:pic>
      <p:sp>
        <p:nvSpPr>
          <p:cNvPr id="21" name="Rectangle 20"/>
          <p:cNvSpPr/>
          <p:nvPr userDrawn="1"/>
        </p:nvSpPr>
        <p:spPr>
          <a:xfrm>
            <a:off x="0" y="6370320"/>
            <a:ext cx="12192000" cy="487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959" tIns="55980" rIns="111959" bIns="55980" rtlCol="0" anchor="ctr"/>
          <a:lstStyle/>
          <a:p>
            <a:pPr algn="ctr" defTabSz="1088239"/>
            <a:endParaRPr lang="en-US" sz="1733" dirty="0">
              <a:solidFill>
                <a:prstClr val="white"/>
              </a:solidFill>
            </a:endParaRPr>
          </a:p>
        </p:txBody>
      </p:sp>
      <p:pic>
        <p:nvPicPr>
          <p:cNvPr id="22" name="Picture 104" descr="C:\Users\UserSim\Desktop\Capgemini\moto.emf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442537" y="6492699"/>
            <a:ext cx="2926080" cy="2429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842810" y="639403"/>
            <a:ext cx="2758844" cy="757596"/>
          </a:xfrm>
          <a:prstGeom prst="rect">
            <a:avLst/>
          </a:prstGeom>
          <a:noFill/>
        </p:spPr>
      </p:pic>
      <p:sp>
        <p:nvSpPr>
          <p:cNvPr id="14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571500" y="3213101"/>
            <a:ext cx="6400800" cy="467330"/>
          </a:xfrm>
        </p:spPr>
        <p:txBody>
          <a:bodyPr wrap="square" rIns="0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667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571500" y="4467987"/>
            <a:ext cx="6400800" cy="344219"/>
          </a:xfrm>
        </p:spPr>
        <p:txBody>
          <a:bodyPr wrap="square" rIns="0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12700" y="5681134"/>
            <a:ext cx="12179301" cy="584201"/>
            <a:chOff x="9525" y="4260850"/>
            <a:chExt cx="9134476" cy="438151"/>
          </a:xfrm>
        </p:grpSpPr>
        <p:sp>
          <p:nvSpPr>
            <p:cNvPr id="43" name="Line 15"/>
            <p:cNvSpPr>
              <a:spLocks noChangeShapeType="1"/>
            </p:cNvSpPr>
            <p:nvPr userDrawn="1"/>
          </p:nvSpPr>
          <p:spPr bwMode="auto">
            <a:xfrm flipH="1">
              <a:off x="9525" y="4668838"/>
              <a:ext cx="415290" cy="0"/>
            </a:xfrm>
            <a:prstGeom prst="line">
              <a:avLst/>
            </a:prstGeom>
            <a:noFill/>
            <a:ln w="11113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88239"/>
              <a:endParaRPr lang="en-US" sz="2133" dirty="0">
                <a:solidFill>
                  <a:srgbClr val="00234B"/>
                </a:solidFill>
              </a:endParaRPr>
            </a:p>
          </p:txBody>
        </p:sp>
        <p:sp>
          <p:nvSpPr>
            <p:cNvPr id="44" name="Line 29"/>
            <p:cNvSpPr>
              <a:spLocks noChangeShapeType="1"/>
            </p:cNvSpPr>
            <p:nvPr userDrawn="1"/>
          </p:nvSpPr>
          <p:spPr bwMode="auto">
            <a:xfrm>
              <a:off x="2042161" y="4668838"/>
              <a:ext cx="7101840" cy="0"/>
            </a:xfrm>
            <a:prstGeom prst="line">
              <a:avLst/>
            </a:prstGeom>
            <a:noFill/>
            <a:ln w="11113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88239"/>
              <a:endParaRPr lang="en-US" sz="2133" dirty="0">
                <a:solidFill>
                  <a:srgbClr val="00234B"/>
                </a:solidFill>
              </a:endParaRPr>
            </a:p>
          </p:txBody>
        </p:sp>
        <p:grpSp>
          <p:nvGrpSpPr>
            <p:cNvPr id="45" name="Group 36"/>
            <p:cNvGrpSpPr/>
            <p:nvPr userDrawn="1"/>
          </p:nvGrpSpPr>
          <p:grpSpPr>
            <a:xfrm>
              <a:off x="428625" y="4260850"/>
              <a:ext cx="1624013" cy="438151"/>
              <a:chOff x="511175" y="4260850"/>
              <a:chExt cx="1624013" cy="438151"/>
            </a:xfrm>
          </p:grpSpPr>
          <p:sp>
            <p:nvSpPr>
              <p:cNvPr id="46" name="Freeform 9"/>
              <p:cNvSpPr>
                <a:spLocks/>
              </p:cNvSpPr>
              <p:nvPr userDrawn="1"/>
            </p:nvSpPr>
            <p:spPr bwMode="auto">
              <a:xfrm>
                <a:off x="511175" y="4422775"/>
                <a:ext cx="476250" cy="109538"/>
              </a:xfrm>
              <a:custGeom>
                <a:avLst/>
                <a:gdLst/>
                <a:ahLst/>
                <a:cxnLst>
                  <a:cxn ang="0">
                    <a:pos x="1" y="45"/>
                  </a:cxn>
                  <a:cxn ang="0">
                    <a:pos x="1" y="8"/>
                  </a:cxn>
                  <a:cxn ang="0">
                    <a:pos x="8" y="0"/>
                  </a:cxn>
                  <a:cxn ang="0">
                    <a:pos x="188" y="0"/>
                  </a:cxn>
                  <a:cxn ang="0">
                    <a:pos x="195" y="8"/>
                  </a:cxn>
                  <a:cxn ang="0">
                    <a:pos x="195" y="23"/>
                  </a:cxn>
                  <a:cxn ang="0">
                    <a:pos x="16" y="23"/>
                  </a:cxn>
                </a:cxnLst>
                <a:rect l="0" t="0" r="r" b="b"/>
                <a:pathLst>
                  <a:path w="195" h="45">
                    <a:moveTo>
                      <a:pt x="1" y="45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3" y="0"/>
                      <a:pt x="195" y="4"/>
                      <a:pt x="195" y="8"/>
                    </a:cubicBezTo>
                    <a:cubicBezTo>
                      <a:pt x="195" y="23"/>
                      <a:pt x="195" y="23"/>
                      <a:pt x="195" y="23"/>
                    </a:cubicBezTo>
                    <a:cubicBezTo>
                      <a:pt x="16" y="23"/>
                      <a:pt x="16" y="23"/>
                      <a:pt x="16" y="23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47" name="Freeform 10"/>
              <p:cNvSpPr>
                <a:spLocks/>
              </p:cNvSpPr>
              <p:nvPr userDrawn="1"/>
            </p:nvSpPr>
            <p:spPr bwMode="auto">
              <a:xfrm>
                <a:off x="511175" y="4532313"/>
                <a:ext cx="476250" cy="166688"/>
              </a:xfrm>
              <a:custGeom>
                <a:avLst/>
                <a:gdLst/>
                <a:ahLst/>
                <a:cxnLst>
                  <a:cxn ang="0">
                    <a:pos x="180" y="0"/>
                  </a:cxn>
                  <a:cxn ang="0">
                    <a:pos x="1" y="0"/>
                  </a:cxn>
                  <a:cxn ang="0">
                    <a:pos x="1" y="60"/>
                  </a:cxn>
                  <a:cxn ang="0">
                    <a:pos x="8" y="68"/>
                  </a:cxn>
                  <a:cxn ang="0">
                    <a:pos x="188" y="68"/>
                  </a:cxn>
                  <a:cxn ang="0">
                    <a:pos x="195" y="60"/>
                  </a:cxn>
                  <a:cxn ang="0">
                    <a:pos x="195" y="0"/>
                  </a:cxn>
                </a:cxnLst>
                <a:rect l="0" t="0" r="r" b="b"/>
                <a:pathLst>
                  <a:path w="195" h="68">
                    <a:moveTo>
                      <a:pt x="18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5"/>
                      <a:pt x="3" y="68"/>
                      <a:pt x="8" y="68"/>
                    </a:cubicBezTo>
                    <a:cubicBezTo>
                      <a:pt x="188" y="68"/>
                      <a:pt x="188" y="68"/>
                      <a:pt x="188" y="68"/>
                    </a:cubicBezTo>
                    <a:cubicBezTo>
                      <a:pt x="192" y="68"/>
                      <a:pt x="195" y="65"/>
                      <a:pt x="195" y="60"/>
                    </a:cubicBezTo>
                    <a:cubicBezTo>
                      <a:pt x="195" y="0"/>
                      <a:pt x="195" y="0"/>
                      <a:pt x="195" y="0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48" name="Rectangle 11"/>
              <p:cNvSpPr>
                <a:spLocks noChangeArrowheads="1"/>
              </p:cNvSpPr>
              <p:nvPr userDrawn="1"/>
            </p:nvSpPr>
            <p:spPr bwMode="auto">
              <a:xfrm>
                <a:off x="860425" y="4618038"/>
                <a:ext cx="92075" cy="41275"/>
              </a:xfrm>
              <a:prstGeom prst="rect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49" name="Line 12"/>
              <p:cNvSpPr>
                <a:spLocks noChangeShapeType="1"/>
              </p:cNvSpPr>
              <p:nvPr userDrawn="1"/>
            </p:nvSpPr>
            <p:spPr bwMode="auto">
              <a:xfrm>
                <a:off x="554038" y="4659313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50" name="Line 13"/>
              <p:cNvSpPr>
                <a:spLocks noChangeShapeType="1"/>
              </p:cNvSpPr>
              <p:nvPr userDrawn="1"/>
            </p:nvSpPr>
            <p:spPr bwMode="auto">
              <a:xfrm>
                <a:off x="554038" y="4637088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51" name="Line 14"/>
              <p:cNvSpPr>
                <a:spLocks noChangeShapeType="1"/>
              </p:cNvSpPr>
              <p:nvPr userDrawn="1"/>
            </p:nvSpPr>
            <p:spPr bwMode="auto">
              <a:xfrm>
                <a:off x="554038" y="4618038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52" name="Line 16"/>
              <p:cNvSpPr>
                <a:spLocks noChangeShapeType="1"/>
              </p:cNvSpPr>
              <p:nvPr userDrawn="1"/>
            </p:nvSpPr>
            <p:spPr bwMode="auto">
              <a:xfrm flipH="1">
                <a:off x="989013" y="4667250"/>
                <a:ext cx="152400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53" name="Line 17"/>
              <p:cNvSpPr>
                <a:spLocks noChangeShapeType="1"/>
              </p:cNvSpPr>
              <p:nvPr userDrawn="1"/>
            </p:nvSpPr>
            <p:spPr bwMode="auto">
              <a:xfrm flipH="1">
                <a:off x="1573213" y="4667250"/>
                <a:ext cx="150813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54" name="Freeform 18"/>
              <p:cNvSpPr>
                <a:spLocks/>
              </p:cNvSpPr>
              <p:nvPr userDrawn="1"/>
            </p:nvSpPr>
            <p:spPr bwMode="auto">
              <a:xfrm>
                <a:off x="1160463" y="4279900"/>
                <a:ext cx="322263" cy="333375"/>
              </a:xfrm>
              <a:custGeom>
                <a:avLst/>
                <a:gdLst/>
                <a:ahLst/>
                <a:cxnLst>
                  <a:cxn ang="0">
                    <a:pos x="132" y="21"/>
                  </a:cxn>
                  <a:cxn ang="0">
                    <a:pos x="79" y="0"/>
                  </a:cxn>
                  <a:cxn ang="0">
                    <a:pos x="0" y="78"/>
                  </a:cxn>
                  <a:cxn ang="0">
                    <a:pos x="26" y="136"/>
                  </a:cxn>
                </a:cxnLst>
                <a:rect l="0" t="0" r="r" b="b"/>
                <a:pathLst>
                  <a:path w="132" h="136">
                    <a:moveTo>
                      <a:pt x="132" y="21"/>
                    </a:moveTo>
                    <a:cubicBezTo>
                      <a:pt x="118" y="8"/>
                      <a:pt x="99" y="0"/>
                      <a:pt x="79" y="0"/>
                    </a:cubicBezTo>
                    <a:cubicBezTo>
                      <a:pt x="35" y="0"/>
                      <a:pt x="0" y="35"/>
                      <a:pt x="0" y="78"/>
                    </a:cubicBezTo>
                    <a:cubicBezTo>
                      <a:pt x="0" y="101"/>
                      <a:pt x="10" y="122"/>
                      <a:pt x="26" y="136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55" name="Freeform 19"/>
              <p:cNvSpPr>
                <a:spLocks/>
              </p:cNvSpPr>
              <p:nvPr userDrawn="1"/>
            </p:nvSpPr>
            <p:spPr bwMode="auto">
              <a:xfrm>
                <a:off x="1484313" y="4418013"/>
                <a:ext cx="58738" cy="192088"/>
              </a:xfrm>
              <a:custGeom>
                <a:avLst/>
                <a:gdLst/>
                <a:ahLst/>
                <a:cxnLst>
                  <a:cxn ang="0">
                    <a:pos x="0" y="79"/>
                  </a:cxn>
                  <a:cxn ang="0">
                    <a:pos x="24" y="22"/>
                  </a:cxn>
                  <a:cxn ang="0">
                    <a:pos x="21" y="0"/>
                  </a:cxn>
                </a:cxnLst>
                <a:rect l="0" t="0" r="r" b="b"/>
                <a:pathLst>
                  <a:path w="24" h="79">
                    <a:moveTo>
                      <a:pt x="0" y="79"/>
                    </a:moveTo>
                    <a:cubicBezTo>
                      <a:pt x="15" y="65"/>
                      <a:pt x="24" y="45"/>
                      <a:pt x="24" y="22"/>
                    </a:cubicBezTo>
                    <a:cubicBezTo>
                      <a:pt x="24" y="15"/>
                      <a:pt x="23" y="7"/>
                      <a:pt x="21" y="0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56" name="Freeform 20"/>
              <p:cNvSpPr>
                <a:spLocks/>
              </p:cNvSpPr>
              <p:nvPr userDrawn="1"/>
            </p:nvSpPr>
            <p:spPr bwMode="auto">
              <a:xfrm>
                <a:off x="1441450" y="4332288"/>
                <a:ext cx="123825" cy="1143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32"/>
                  </a:cxn>
                  <a:cxn ang="0">
                    <a:pos x="0" y="32"/>
                  </a:cxn>
                  <a:cxn ang="0">
                    <a:pos x="38" y="72"/>
                  </a:cxn>
                  <a:cxn ang="0">
                    <a:pos x="78" y="32"/>
                  </a:cxn>
                  <a:cxn ang="0">
                    <a:pos x="54" y="32"/>
                  </a:cxn>
                  <a:cxn ang="0">
                    <a:pos x="54" y="0"/>
                  </a:cxn>
                </a:cxnLst>
                <a:rect l="0" t="0" r="r" b="b"/>
                <a:pathLst>
                  <a:path w="78" h="72">
                    <a:moveTo>
                      <a:pt x="26" y="0"/>
                    </a:moveTo>
                    <a:lnTo>
                      <a:pt x="26" y="32"/>
                    </a:lnTo>
                    <a:lnTo>
                      <a:pt x="0" y="32"/>
                    </a:lnTo>
                    <a:lnTo>
                      <a:pt x="38" y="72"/>
                    </a:lnTo>
                    <a:lnTo>
                      <a:pt x="78" y="32"/>
                    </a:lnTo>
                    <a:lnTo>
                      <a:pt x="54" y="32"/>
                    </a:lnTo>
                    <a:lnTo>
                      <a:pt x="54" y="0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57" name="Freeform 21"/>
              <p:cNvSpPr>
                <a:spLocks/>
              </p:cNvSpPr>
              <p:nvPr userDrawn="1"/>
            </p:nvSpPr>
            <p:spPr bwMode="auto">
              <a:xfrm>
                <a:off x="1141413" y="4613275"/>
                <a:ext cx="431800" cy="53975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0" y="22"/>
                  </a:cxn>
                  <a:cxn ang="0">
                    <a:pos x="22" y="0"/>
                  </a:cxn>
                  <a:cxn ang="0">
                    <a:pos x="155" y="0"/>
                  </a:cxn>
                  <a:cxn ang="0">
                    <a:pos x="177" y="22"/>
                  </a:cxn>
                </a:cxnLst>
                <a:rect l="0" t="0" r="r" b="b"/>
                <a:pathLst>
                  <a:path w="177" h="22">
                    <a:moveTo>
                      <a:pt x="0" y="22"/>
                    </a:move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67" y="0"/>
                      <a:pt x="177" y="10"/>
                      <a:pt x="177" y="22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58" name="Freeform 22"/>
              <p:cNvSpPr>
                <a:spLocks/>
              </p:cNvSpPr>
              <p:nvPr userDrawn="1"/>
            </p:nvSpPr>
            <p:spPr bwMode="auto">
              <a:xfrm>
                <a:off x="1270000" y="4327525"/>
                <a:ext cx="141288" cy="249238"/>
              </a:xfrm>
              <a:custGeom>
                <a:avLst/>
                <a:gdLst/>
                <a:ahLst/>
                <a:cxnLst>
                  <a:cxn ang="0">
                    <a:pos x="24" y="59"/>
                  </a:cxn>
                  <a:cxn ang="0">
                    <a:pos x="35" y="67"/>
                  </a:cxn>
                  <a:cxn ang="0">
                    <a:pos x="26" y="73"/>
                  </a:cxn>
                  <a:cxn ang="0">
                    <a:pos x="8" y="69"/>
                  </a:cxn>
                  <a:cxn ang="0">
                    <a:pos x="7" y="68"/>
                  </a:cxn>
                  <a:cxn ang="0">
                    <a:pos x="4" y="71"/>
                  </a:cxn>
                  <a:cxn ang="0">
                    <a:pos x="1" y="83"/>
                  </a:cxn>
                  <a:cxn ang="0">
                    <a:pos x="3" y="86"/>
                  </a:cxn>
                  <a:cxn ang="0">
                    <a:pos x="21" y="91"/>
                  </a:cxn>
                  <a:cxn ang="0">
                    <a:pos x="21" y="99"/>
                  </a:cxn>
                  <a:cxn ang="0">
                    <a:pos x="24" y="102"/>
                  </a:cxn>
                  <a:cxn ang="0">
                    <a:pos x="34" y="102"/>
                  </a:cxn>
                  <a:cxn ang="0">
                    <a:pos x="37" y="99"/>
                  </a:cxn>
                  <a:cxn ang="0">
                    <a:pos x="37" y="89"/>
                  </a:cxn>
                  <a:cxn ang="0">
                    <a:pos x="58" y="65"/>
                  </a:cxn>
                  <a:cxn ang="0">
                    <a:pos x="36" y="41"/>
                  </a:cxn>
                  <a:cxn ang="0">
                    <a:pos x="23" y="33"/>
                  </a:cxn>
                  <a:cxn ang="0">
                    <a:pos x="31" y="28"/>
                  </a:cxn>
                  <a:cxn ang="0">
                    <a:pos x="46" y="31"/>
                  </a:cxn>
                  <a:cxn ang="0">
                    <a:pos x="47" y="32"/>
                  </a:cxn>
                  <a:cxn ang="0">
                    <a:pos x="50" y="29"/>
                  </a:cxn>
                  <a:cxn ang="0">
                    <a:pos x="53" y="18"/>
                  </a:cxn>
                  <a:cxn ang="0">
                    <a:pos x="51" y="14"/>
                  </a:cxn>
                  <a:cxn ang="0">
                    <a:pos x="36" y="11"/>
                  </a:cxn>
                  <a:cxn ang="0">
                    <a:pos x="36" y="3"/>
                  </a:cxn>
                  <a:cxn ang="0">
                    <a:pos x="32" y="0"/>
                  </a:cxn>
                  <a:cxn ang="0">
                    <a:pos x="23" y="0"/>
                  </a:cxn>
                  <a:cxn ang="0">
                    <a:pos x="20" y="4"/>
                  </a:cxn>
                  <a:cxn ang="0">
                    <a:pos x="20" y="12"/>
                  </a:cxn>
                  <a:cxn ang="0">
                    <a:pos x="0" y="36"/>
                  </a:cxn>
                  <a:cxn ang="0">
                    <a:pos x="24" y="59"/>
                  </a:cxn>
                </a:cxnLst>
                <a:rect l="0" t="0" r="r" b="b"/>
                <a:pathLst>
                  <a:path w="58" h="102">
                    <a:moveTo>
                      <a:pt x="24" y="59"/>
                    </a:moveTo>
                    <a:cubicBezTo>
                      <a:pt x="33" y="62"/>
                      <a:pt x="35" y="64"/>
                      <a:pt x="35" y="67"/>
                    </a:cubicBezTo>
                    <a:cubicBezTo>
                      <a:pt x="35" y="71"/>
                      <a:pt x="30" y="73"/>
                      <a:pt x="26" y="73"/>
                    </a:cubicBezTo>
                    <a:cubicBezTo>
                      <a:pt x="18" y="73"/>
                      <a:pt x="12" y="70"/>
                      <a:pt x="8" y="69"/>
                    </a:cubicBezTo>
                    <a:cubicBezTo>
                      <a:pt x="8" y="68"/>
                      <a:pt x="7" y="68"/>
                      <a:pt x="7" y="68"/>
                    </a:cubicBezTo>
                    <a:cubicBezTo>
                      <a:pt x="5" y="68"/>
                      <a:pt x="4" y="69"/>
                      <a:pt x="4" y="71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4"/>
                      <a:pt x="1" y="86"/>
                      <a:pt x="3" y="86"/>
                    </a:cubicBezTo>
                    <a:cubicBezTo>
                      <a:pt x="8" y="89"/>
                      <a:pt x="15" y="90"/>
                      <a:pt x="21" y="91"/>
                    </a:cubicBezTo>
                    <a:cubicBezTo>
                      <a:pt x="21" y="99"/>
                      <a:pt x="21" y="99"/>
                      <a:pt x="21" y="99"/>
                    </a:cubicBezTo>
                    <a:cubicBezTo>
                      <a:pt x="21" y="101"/>
                      <a:pt x="23" y="102"/>
                      <a:pt x="2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6" y="102"/>
                      <a:pt x="37" y="100"/>
                      <a:pt x="37" y="99"/>
                    </a:cubicBezTo>
                    <a:cubicBezTo>
                      <a:pt x="37" y="89"/>
                      <a:pt x="37" y="89"/>
                      <a:pt x="37" y="89"/>
                    </a:cubicBezTo>
                    <a:cubicBezTo>
                      <a:pt x="50" y="86"/>
                      <a:pt x="58" y="77"/>
                      <a:pt x="58" y="65"/>
                    </a:cubicBezTo>
                    <a:cubicBezTo>
                      <a:pt x="57" y="53"/>
                      <a:pt x="51" y="46"/>
                      <a:pt x="36" y="41"/>
                    </a:cubicBezTo>
                    <a:cubicBezTo>
                      <a:pt x="26" y="38"/>
                      <a:pt x="23" y="36"/>
                      <a:pt x="23" y="33"/>
                    </a:cubicBezTo>
                    <a:cubicBezTo>
                      <a:pt x="23" y="29"/>
                      <a:pt x="28" y="28"/>
                      <a:pt x="31" y="28"/>
                    </a:cubicBezTo>
                    <a:cubicBezTo>
                      <a:pt x="38" y="28"/>
                      <a:pt x="43" y="30"/>
                      <a:pt x="46" y="3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32"/>
                      <a:pt x="50" y="31"/>
                      <a:pt x="50" y="29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6"/>
                      <a:pt x="53" y="14"/>
                      <a:pt x="51" y="14"/>
                    </a:cubicBezTo>
                    <a:cubicBezTo>
                      <a:pt x="46" y="12"/>
                      <a:pt x="41" y="11"/>
                      <a:pt x="36" y="11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6" y="1"/>
                      <a:pt x="34" y="0"/>
                      <a:pt x="32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1" y="0"/>
                      <a:pt x="20" y="2"/>
                      <a:pt x="20" y="4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7" y="15"/>
                      <a:pt x="0" y="24"/>
                      <a:pt x="0" y="36"/>
                    </a:cubicBezTo>
                    <a:cubicBezTo>
                      <a:pt x="1" y="50"/>
                      <a:pt x="13" y="56"/>
                      <a:pt x="24" y="59"/>
                    </a:cubicBezTo>
                    <a:close/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59" name="Oval 23"/>
              <p:cNvSpPr>
                <a:spLocks noChangeArrowheads="1"/>
              </p:cNvSpPr>
              <p:nvPr userDrawn="1"/>
            </p:nvSpPr>
            <p:spPr bwMode="auto">
              <a:xfrm>
                <a:off x="1887538" y="4314825"/>
                <a:ext cx="49213" cy="55563"/>
              </a:xfrm>
              <a:prstGeom prst="ellips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60" name="Freeform 24"/>
              <p:cNvSpPr>
                <a:spLocks/>
              </p:cNvSpPr>
              <p:nvPr userDrawn="1"/>
            </p:nvSpPr>
            <p:spPr bwMode="auto">
              <a:xfrm>
                <a:off x="1985963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61" name="Freeform 25"/>
              <p:cNvSpPr>
                <a:spLocks/>
              </p:cNvSpPr>
              <p:nvPr userDrawn="1"/>
            </p:nvSpPr>
            <p:spPr bwMode="auto">
              <a:xfrm>
                <a:off x="1895475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62" name="Freeform 26"/>
              <p:cNvSpPr>
                <a:spLocks/>
              </p:cNvSpPr>
              <p:nvPr userDrawn="1"/>
            </p:nvSpPr>
            <p:spPr bwMode="auto">
              <a:xfrm>
                <a:off x="1809750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63" name="Freeform 27"/>
              <p:cNvSpPr>
                <a:spLocks/>
              </p:cNvSpPr>
              <p:nvPr userDrawn="1"/>
            </p:nvSpPr>
            <p:spPr bwMode="auto">
              <a:xfrm>
                <a:off x="1741488" y="4260850"/>
                <a:ext cx="357188" cy="330200"/>
              </a:xfrm>
              <a:custGeom>
                <a:avLst/>
                <a:gdLst/>
                <a:ahLst/>
                <a:cxnLst>
                  <a:cxn ang="0">
                    <a:pos x="14" y="134"/>
                  </a:cxn>
                  <a:cxn ang="0">
                    <a:pos x="14" y="62"/>
                  </a:cxn>
                  <a:cxn ang="0">
                    <a:pos x="10" y="60"/>
                  </a:cxn>
                  <a:cxn ang="0">
                    <a:pos x="0" y="60"/>
                  </a:cxn>
                  <a:cxn ang="0">
                    <a:pos x="0" y="50"/>
                  </a:cxn>
                  <a:cxn ang="0">
                    <a:pos x="67" y="4"/>
                  </a:cxn>
                  <a:cxn ang="0">
                    <a:pos x="75" y="4"/>
                  </a:cxn>
                  <a:cxn ang="0">
                    <a:pos x="145" y="47"/>
                  </a:cxn>
                  <a:cxn ang="0">
                    <a:pos x="145" y="57"/>
                  </a:cxn>
                  <a:cxn ang="0">
                    <a:pos x="141" y="61"/>
                  </a:cxn>
                  <a:cxn ang="0">
                    <a:pos x="136" y="61"/>
                  </a:cxn>
                  <a:cxn ang="0">
                    <a:pos x="136" y="135"/>
                  </a:cxn>
                </a:cxnLst>
                <a:rect l="0" t="0" r="r" b="b"/>
                <a:pathLst>
                  <a:path w="146" h="135">
                    <a:moveTo>
                      <a:pt x="14" y="134"/>
                    </a:move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2"/>
                      <a:pt x="15" y="60"/>
                      <a:pt x="1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51" y="16"/>
                      <a:pt x="67" y="4"/>
                    </a:cubicBezTo>
                    <a:cubicBezTo>
                      <a:pt x="69" y="3"/>
                      <a:pt x="71" y="0"/>
                      <a:pt x="75" y="4"/>
                    </a:cubicBezTo>
                    <a:cubicBezTo>
                      <a:pt x="80" y="7"/>
                      <a:pt x="145" y="47"/>
                      <a:pt x="145" y="47"/>
                    </a:cubicBezTo>
                    <a:cubicBezTo>
                      <a:pt x="145" y="57"/>
                      <a:pt x="145" y="57"/>
                      <a:pt x="145" y="57"/>
                    </a:cubicBezTo>
                    <a:cubicBezTo>
                      <a:pt x="145" y="57"/>
                      <a:pt x="146" y="61"/>
                      <a:pt x="141" y="61"/>
                    </a:cubicBezTo>
                    <a:cubicBezTo>
                      <a:pt x="136" y="61"/>
                      <a:pt x="136" y="61"/>
                      <a:pt x="136" y="61"/>
                    </a:cubicBezTo>
                    <a:cubicBezTo>
                      <a:pt x="136" y="135"/>
                      <a:pt x="136" y="135"/>
                      <a:pt x="136" y="135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64" name="Freeform 28"/>
              <p:cNvSpPr>
                <a:spLocks/>
              </p:cNvSpPr>
              <p:nvPr userDrawn="1"/>
            </p:nvSpPr>
            <p:spPr bwMode="auto">
              <a:xfrm>
                <a:off x="1717675" y="4592638"/>
                <a:ext cx="41275" cy="68263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3" y="28"/>
                  </a:cxn>
                </a:cxnLst>
                <a:rect l="0" t="0" r="r" b="b"/>
                <a:pathLst>
                  <a:path w="17" h="28">
                    <a:moveTo>
                      <a:pt x="17" y="0"/>
                    </a:moveTo>
                    <a:cubicBezTo>
                      <a:pt x="0" y="10"/>
                      <a:pt x="3" y="28"/>
                      <a:pt x="3" y="28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65" name="Freeform 30"/>
              <p:cNvSpPr>
                <a:spLocks/>
              </p:cNvSpPr>
              <p:nvPr userDrawn="1"/>
            </p:nvSpPr>
            <p:spPr bwMode="auto">
              <a:xfrm>
                <a:off x="2090738" y="4595813"/>
                <a:ext cx="44450" cy="682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8"/>
                  </a:cxn>
                </a:cxnLst>
                <a:rect l="0" t="0" r="r" b="b"/>
                <a:pathLst>
                  <a:path w="18" h="28">
                    <a:moveTo>
                      <a:pt x="0" y="0"/>
                    </a:moveTo>
                    <a:cubicBezTo>
                      <a:pt x="18" y="10"/>
                      <a:pt x="14" y="28"/>
                      <a:pt x="14" y="28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949857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 11" descr="test1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775122"/>
            <a:ext cx="12191996" cy="5575583"/>
          </a:xfrm>
          <a:prstGeom prst="rect">
            <a:avLst/>
          </a:prstGeom>
        </p:spPr>
      </p:pic>
      <p:sp>
        <p:nvSpPr>
          <p:cNvPr id="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3" y="-25"/>
            <a:ext cx="12191999" cy="1404548"/>
          </a:xfrm>
          <a:custGeom>
            <a:avLst/>
            <a:gdLst>
              <a:gd name="connsiteX0" fmla="*/ 10122 w 10613"/>
              <a:gd name="connsiteY0" fmla="*/ 4537 h 10000"/>
              <a:gd name="connsiteX1" fmla="*/ 1585 w 10613"/>
              <a:gd name="connsiteY1" fmla="*/ 4537 h 10000"/>
              <a:gd name="connsiteX2" fmla="*/ 613 w 10613"/>
              <a:gd name="connsiteY2" fmla="*/ 4537 h 10000"/>
              <a:gd name="connsiteX3" fmla="*/ 613 w 10613"/>
              <a:gd name="connsiteY3" fmla="*/ 5463 h 10000"/>
              <a:gd name="connsiteX4" fmla="*/ 1097 w 10613"/>
              <a:gd name="connsiteY4" fmla="*/ 10000 h 10000"/>
              <a:gd name="connsiteX5" fmla="*/ 1585 w 10613"/>
              <a:gd name="connsiteY5" fmla="*/ 5463 h 10000"/>
              <a:gd name="connsiteX6" fmla="*/ 10122 w 10613"/>
              <a:gd name="connsiteY6" fmla="*/ 5463 h 10000"/>
              <a:gd name="connsiteX7" fmla="*/ 10613 w 10613"/>
              <a:gd name="connsiteY7" fmla="*/ 927 h 10000"/>
              <a:gd name="connsiteX8" fmla="*/ 10613 w 10613"/>
              <a:gd name="connsiteY8" fmla="*/ 0 h 10000"/>
              <a:gd name="connsiteX9" fmla="*/ 10122 w 10613"/>
              <a:gd name="connsiteY9" fmla="*/ 4537 h 10000"/>
              <a:gd name="connsiteX0" fmla="*/ 10122 w 10613"/>
              <a:gd name="connsiteY0" fmla="*/ 13981 h 19444"/>
              <a:gd name="connsiteX1" fmla="*/ 1585 w 10613"/>
              <a:gd name="connsiteY1" fmla="*/ 13981 h 19444"/>
              <a:gd name="connsiteX2" fmla="*/ 613 w 10613"/>
              <a:gd name="connsiteY2" fmla="*/ 154 h 19444"/>
              <a:gd name="connsiteX3" fmla="*/ 613 w 10613"/>
              <a:gd name="connsiteY3" fmla="*/ 14907 h 19444"/>
              <a:gd name="connsiteX4" fmla="*/ 1097 w 10613"/>
              <a:gd name="connsiteY4" fmla="*/ 19444 h 19444"/>
              <a:gd name="connsiteX5" fmla="*/ 1585 w 10613"/>
              <a:gd name="connsiteY5" fmla="*/ 14907 h 19444"/>
              <a:gd name="connsiteX6" fmla="*/ 10122 w 10613"/>
              <a:gd name="connsiteY6" fmla="*/ 14907 h 19444"/>
              <a:gd name="connsiteX7" fmla="*/ 10613 w 10613"/>
              <a:gd name="connsiteY7" fmla="*/ 10371 h 19444"/>
              <a:gd name="connsiteX8" fmla="*/ 10613 w 10613"/>
              <a:gd name="connsiteY8" fmla="*/ 9444 h 19444"/>
              <a:gd name="connsiteX9" fmla="*/ 10122 w 10613"/>
              <a:gd name="connsiteY9" fmla="*/ 13981 h 19444"/>
              <a:gd name="connsiteX0" fmla="*/ 9509 w 10000"/>
              <a:gd name="connsiteY0" fmla="*/ 13827 h 19290"/>
              <a:gd name="connsiteX1" fmla="*/ 972 w 10000"/>
              <a:gd name="connsiteY1" fmla="*/ 13827 h 19290"/>
              <a:gd name="connsiteX2" fmla="*/ 0 w 10000"/>
              <a:gd name="connsiteY2" fmla="*/ 0 h 19290"/>
              <a:gd name="connsiteX3" fmla="*/ 0 w 10000"/>
              <a:gd name="connsiteY3" fmla="*/ 14753 h 19290"/>
              <a:gd name="connsiteX4" fmla="*/ 484 w 10000"/>
              <a:gd name="connsiteY4" fmla="*/ 19290 h 19290"/>
              <a:gd name="connsiteX5" fmla="*/ 972 w 10000"/>
              <a:gd name="connsiteY5" fmla="*/ 14753 h 19290"/>
              <a:gd name="connsiteX6" fmla="*/ 9509 w 10000"/>
              <a:gd name="connsiteY6" fmla="*/ 14753 h 19290"/>
              <a:gd name="connsiteX7" fmla="*/ 10000 w 10000"/>
              <a:gd name="connsiteY7" fmla="*/ 10217 h 19290"/>
              <a:gd name="connsiteX8" fmla="*/ 10000 w 10000"/>
              <a:gd name="connsiteY8" fmla="*/ 9290 h 19290"/>
              <a:gd name="connsiteX9" fmla="*/ 9509 w 10000"/>
              <a:gd name="connsiteY9" fmla="*/ 13827 h 19290"/>
              <a:gd name="connsiteX0" fmla="*/ 9509 w 10000"/>
              <a:gd name="connsiteY0" fmla="*/ 13827 h 19290"/>
              <a:gd name="connsiteX1" fmla="*/ 930 w 10000"/>
              <a:gd name="connsiteY1" fmla="*/ 0 h 19290"/>
              <a:gd name="connsiteX2" fmla="*/ 0 w 10000"/>
              <a:gd name="connsiteY2" fmla="*/ 0 h 19290"/>
              <a:gd name="connsiteX3" fmla="*/ 0 w 10000"/>
              <a:gd name="connsiteY3" fmla="*/ 14753 h 19290"/>
              <a:gd name="connsiteX4" fmla="*/ 484 w 10000"/>
              <a:gd name="connsiteY4" fmla="*/ 19290 h 19290"/>
              <a:gd name="connsiteX5" fmla="*/ 972 w 10000"/>
              <a:gd name="connsiteY5" fmla="*/ 14753 h 19290"/>
              <a:gd name="connsiteX6" fmla="*/ 9509 w 10000"/>
              <a:gd name="connsiteY6" fmla="*/ 14753 h 19290"/>
              <a:gd name="connsiteX7" fmla="*/ 10000 w 10000"/>
              <a:gd name="connsiteY7" fmla="*/ 10217 h 19290"/>
              <a:gd name="connsiteX8" fmla="*/ 10000 w 10000"/>
              <a:gd name="connsiteY8" fmla="*/ 9290 h 19290"/>
              <a:gd name="connsiteX9" fmla="*/ 9509 w 10000"/>
              <a:gd name="connsiteY9" fmla="*/ 13827 h 19290"/>
              <a:gd name="connsiteX0" fmla="*/ 9509 w 10000"/>
              <a:gd name="connsiteY0" fmla="*/ 13827 h 19290"/>
              <a:gd name="connsiteX1" fmla="*/ 0 w 10000"/>
              <a:gd name="connsiteY1" fmla="*/ 0 h 19290"/>
              <a:gd name="connsiteX2" fmla="*/ 0 w 10000"/>
              <a:gd name="connsiteY2" fmla="*/ 14753 h 19290"/>
              <a:gd name="connsiteX3" fmla="*/ 484 w 10000"/>
              <a:gd name="connsiteY3" fmla="*/ 19290 h 19290"/>
              <a:gd name="connsiteX4" fmla="*/ 972 w 10000"/>
              <a:gd name="connsiteY4" fmla="*/ 14753 h 19290"/>
              <a:gd name="connsiteX5" fmla="*/ 9509 w 10000"/>
              <a:gd name="connsiteY5" fmla="*/ 14753 h 19290"/>
              <a:gd name="connsiteX6" fmla="*/ 10000 w 10000"/>
              <a:gd name="connsiteY6" fmla="*/ 10217 h 19290"/>
              <a:gd name="connsiteX7" fmla="*/ 10000 w 10000"/>
              <a:gd name="connsiteY7" fmla="*/ 9290 h 19290"/>
              <a:gd name="connsiteX8" fmla="*/ 9509 w 10000"/>
              <a:gd name="connsiteY8" fmla="*/ 13827 h 19290"/>
              <a:gd name="connsiteX0" fmla="*/ 10000 w 10000"/>
              <a:gd name="connsiteY0" fmla="*/ 10201 h 20201"/>
              <a:gd name="connsiteX1" fmla="*/ 0 w 10000"/>
              <a:gd name="connsiteY1" fmla="*/ 911 h 20201"/>
              <a:gd name="connsiteX2" fmla="*/ 0 w 10000"/>
              <a:gd name="connsiteY2" fmla="*/ 15664 h 20201"/>
              <a:gd name="connsiteX3" fmla="*/ 484 w 10000"/>
              <a:gd name="connsiteY3" fmla="*/ 20201 h 20201"/>
              <a:gd name="connsiteX4" fmla="*/ 972 w 10000"/>
              <a:gd name="connsiteY4" fmla="*/ 15664 h 20201"/>
              <a:gd name="connsiteX5" fmla="*/ 9509 w 10000"/>
              <a:gd name="connsiteY5" fmla="*/ 15664 h 20201"/>
              <a:gd name="connsiteX6" fmla="*/ 10000 w 10000"/>
              <a:gd name="connsiteY6" fmla="*/ 11128 h 20201"/>
              <a:gd name="connsiteX7" fmla="*/ 10000 w 10000"/>
              <a:gd name="connsiteY7" fmla="*/ 10201 h 20201"/>
              <a:gd name="connsiteX0" fmla="*/ 10000 w 10000"/>
              <a:gd name="connsiteY0" fmla="*/ 1703 h 20993"/>
              <a:gd name="connsiteX1" fmla="*/ 0 w 10000"/>
              <a:gd name="connsiteY1" fmla="*/ 1703 h 20993"/>
              <a:gd name="connsiteX2" fmla="*/ 0 w 10000"/>
              <a:gd name="connsiteY2" fmla="*/ 16456 h 20993"/>
              <a:gd name="connsiteX3" fmla="*/ 484 w 10000"/>
              <a:gd name="connsiteY3" fmla="*/ 20993 h 20993"/>
              <a:gd name="connsiteX4" fmla="*/ 972 w 10000"/>
              <a:gd name="connsiteY4" fmla="*/ 16456 h 20993"/>
              <a:gd name="connsiteX5" fmla="*/ 9509 w 10000"/>
              <a:gd name="connsiteY5" fmla="*/ 16456 h 20993"/>
              <a:gd name="connsiteX6" fmla="*/ 10000 w 10000"/>
              <a:gd name="connsiteY6" fmla="*/ 11920 h 20993"/>
              <a:gd name="connsiteX7" fmla="*/ 10000 w 10000"/>
              <a:gd name="connsiteY7" fmla="*/ 1703 h 20993"/>
              <a:gd name="connsiteX0" fmla="*/ 10000 w 10000"/>
              <a:gd name="connsiteY0" fmla="*/ 0 h 19290"/>
              <a:gd name="connsiteX1" fmla="*/ 0 w 10000"/>
              <a:gd name="connsiteY1" fmla="*/ 0 h 19290"/>
              <a:gd name="connsiteX2" fmla="*/ 0 w 10000"/>
              <a:gd name="connsiteY2" fmla="*/ 14753 h 19290"/>
              <a:gd name="connsiteX3" fmla="*/ 484 w 10000"/>
              <a:gd name="connsiteY3" fmla="*/ 19290 h 19290"/>
              <a:gd name="connsiteX4" fmla="*/ 972 w 10000"/>
              <a:gd name="connsiteY4" fmla="*/ 14753 h 19290"/>
              <a:gd name="connsiteX5" fmla="*/ 9509 w 10000"/>
              <a:gd name="connsiteY5" fmla="*/ 14753 h 19290"/>
              <a:gd name="connsiteX6" fmla="*/ 10000 w 10000"/>
              <a:gd name="connsiteY6" fmla="*/ 10217 h 19290"/>
              <a:gd name="connsiteX7" fmla="*/ 10000 w 10000"/>
              <a:gd name="connsiteY7" fmla="*/ 0 h 19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9290">
                <a:moveTo>
                  <a:pt x="10000" y="0"/>
                </a:moveTo>
                <a:lnTo>
                  <a:pt x="0" y="0"/>
                </a:lnTo>
                <a:lnTo>
                  <a:pt x="0" y="14753"/>
                </a:lnTo>
                <a:cubicBezTo>
                  <a:pt x="382" y="14753"/>
                  <a:pt x="484" y="19290"/>
                  <a:pt x="484" y="19290"/>
                </a:cubicBezTo>
                <a:cubicBezTo>
                  <a:pt x="484" y="19290"/>
                  <a:pt x="587" y="14753"/>
                  <a:pt x="972" y="14753"/>
                </a:cubicBezTo>
                <a:lnTo>
                  <a:pt x="9509" y="14753"/>
                </a:lnTo>
                <a:cubicBezTo>
                  <a:pt x="9894" y="14753"/>
                  <a:pt x="10000" y="10217"/>
                  <a:pt x="10000" y="10217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3131" tIns="56565" rIns="113131" bIns="56565" numCol="1" anchor="t" anchorCtr="0" compatLnSpc="1">
            <a:prstTxWarp prst="textNoShape">
              <a:avLst/>
            </a:prstTxWarp>
          </a:bodyPr>
          <a:lstStyle/>
          <a:p>
            <a:pPr defTabSz="1088239"/>
            <a:endParaRPr lang="fr-FR" sz="2133" dirty="0">
              <a:solidFill>
                <a:srgbClr val="B701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19101" y="1496484"/>
            <a:ext cx="8752417" cy="3596216"/>
          </a:xfrm>
        </p:spPr>
        <p:txBody>
          <a:bodyPr lIns="91440"/>
          <a:lstStyle>
            <a:lvl1pPr>
              <a:buClr>
                <a:schemeClr val="bg1"/>
              </a:buClr>
              <a:defRPr sz="2133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67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67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12700" y="5681134"/>
            <a:ext cx="12179301" cy="584201"/>
            <a:chOff x="9525" y="4260850"/>
            <a:chExt cx="9134476" cy="438151"/>
          </a:xfrm>
        </p:grpSpPr>
        <p:sp>
          <p:nvSpPr>
            <p:cNvPr id="8" name="Line 15"/>
            <p:cNvSpPr>
              <a:spLocks noChangeShapeType="1"/>
            </p:cNvSpPr>
            <p:nvPr userDrawn="1"/>
          </p:nvSpPr>
          <p:spPr bwMode="auto">
            <a:xfrm flipH="1">
              <a:off x="9525" y="4668838"/>
              <a:ext cx="415290" cy="0"/>
            </a:xfrm>
            <a:prstGeom prst="line">
              <a:avLst/>
            </a:prstGeom>
            <a:noFill/>
            <a:ln w="11113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88239"/>
              <a:endParaRPr lang="en-US" sz="2133" dirty="0">
                <a:solidFill>
                  <a:srgbClr val="00234B"/>
                </a:solidFill>
              </a:endParaRPr>
            </a:p>
          </p:txBody>
        </p:sp>
        <p:sp>
          <p:nvSpPr>
            <p:cNvPr id="9" name="Line 29"/>
            <p:cNvSpPr>
              <a:spLocks noChangeShapeType="1"/>
            </p:cNvSpPr>
            <p:nvPr userDrawn="1"/>
          </p:nvSpPr>
          <p:spPr bwMode="auto">
            <a:xfrm>
              <a:off x="2042161" y="4668838"/>
              <a:ext cx="7101840" cy="0"/>
            </a:xfrm>
            <a:prstGeom prst="line">
              <a:avLst/>
            </a:prstGeom>
            <a:noFill/>
            <a:ln w="11113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88239"/>
              <a:endParaRPr lang="en-US" sz="2133" dirty="0">
                <a:solidFill>
                  <a:srgbClr val="00234B"/>
                </a:solidFill>
              </a:endParaRPr>
            </a:p>
          </p:txBody>
        </p:sp>
        <p:grpSp>
          <p:nvGrpSpPr>
            <p:cNvPr id="10" name="Group 36"/>
            <p:cNvGrpSpPr/>
            <p:nvPr userDrawn="1"/>
          </p:nvGrpSpPr>
          <p:grpSpPr>
            <a:xfrm>
              <a:off x="428625" y="4260850"/>
              <a:ext cx="1624013" cy="438151"/>
              <a:chOff x="511175" y="4260850"/>
              <a:chExt cx="1624013" cy="438151"/>
            </a:xfrm>
          </p:grpSpPr>
          <p:sp>
            <p:nvSpPr>
              <p:cNvPr id="11" name="Freeform 9"/>
              <p:cNvSpPr>
                <a:spLocks/>
              </p:cNvSpPr>
              <p:nvPr userDrawn="1"/>
            </p:nvSpPr>
            <p:spPr bwMode="auto">
              <a:xfrm>
                <a:off x="511175" y="4422775"/>
                <a:ext cx="476250" cy="109538"/>
              </a:xfrm>
              <a:custGeom>
                <a:avLst/>
                <a:gdLst/>
                <a:ahLst/>
                <a:cxnLst>
                  <a:cxn ang="0">
                    <a:pos x="1" y="45"/>
                  </a:cxn>
                  <a:cxn ang="0">
                    <a:pos x="1" y="8"/>
                  </a:cxn>
                  <a:cxn ang="0">
                    <a:pos x="8" y="0"/>
                  </a:cxn>
                  <a:cxn ang="0">
                    <a:pos x="188" y="0"/>
                  </a:cxn>
                  <a:cxn ang="0">
                    <a:pos x="195" y="8"/>
                  </a:cxn>
                  <a:cxn ang="0">
                    <a:pos x="195" y="23"/>
                  </a:cxn>
                  <a:cxn ang="0">
                    <a:pos x="16" y="23"/>
                  </a:cxn>
                </a:cxnLst>
                <a:rect l="0" t="0" r="r" b="b"/>
                <a:pathLst>
                  <a:path w="195" h="45">
                    <a:moveTo>
                      <a:pt x="1" y="45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3" y="0"/>
                      <a:pt x="195" y="4"/>
                      <a:pt x="195" y="8"/>
                    </a:cubicBezTo>
                    <a:cubicBezTo>
                      <a:pt x="195" y="23"/>
                      <a:pt x="195" y="23"/>
                      <a:pt x="195" y="23"/>
                    </a:cubicBezTo>
                    <a:cubicBezTo>
                      <a:pt x="16" y="23"/>
                      <a:pt x="16" y="23"/>
                      <a:pt x="16" y="23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2" name="Freeform 10"/>
              <p:cNvSpPr>
                <a:spLocks/>
              </p:cNvSpPr>
              <p:nvPr userDrawn="1"/>
            </p:nvSpPr>
            <p:spPr bwMode="auto">
              <a:xfrm>
                <a:off x="511175" y="4532313"/>
                <a:ext cx="476250" cy="166688"/>
              </a:xfrm>
              <a:custGeom>
                <a:avLst/>
                <a:gdLst/>
                <a:ahLst/>
                <a:cxnLst>
                  <a:cxn ang="0">
                    <a:pos x="180" y="0"/>
                  </a:cxn>
                  <a:cxn ang="0">
                    <a:pos x="1" y="0"/>
                  </a:cxn>
                  <a:cxn ang="0">
                    <a:pos x="1" y="60"/>
                  </a:cxn>
                  <a:cxn ang="0">
                    <a:pos x="8" y="68"/>
                  </a:cxn>
                  <a:cxn ang="0">
                    <a:pos x="188" y="68"/>
                  </a:cxn>
                  <a:cxn ang="0">
                    <a:pos x="195" y="60"/>
                  </a:cxn>
                  <a:cxn ang="0">
                    <a:pos x="195" y="0"/>
                  </a:cxn>
                </a:cxnLst>
                <a:rect l="0" t="0" r="r" b="b"/>
                <a:pathLst>
                  <a:path w="195" h="68">
                    <a:moveTo>
                      <a:pt x="18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5"/>
                      <a:pt x="3" y="68"/>
                      <a:pt x="8" y="68"/>
                    </a:cubicBezTo>
                    <a:cubicBezTo>
                      <a:pt x="188" y="68"/>
                      <a:pt x="188" y="68"/>
                      <a:pt x="188" y="68"/>
                    </a:cubicBezTo>
                    <a:cubicBezTo>
                      <a:pt x="192" y="68"/>
                      <a:pt x="195" y="65"/>
                      <a:pt x="195" y="60"/>
                    </a:cubicBezTo>
                    <a:cubicBezTo>
                      <a:pt x="195" y="0"/>
                      <a:pt x="195" y="0"/>
                      <a:pt x="195" y="0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3" name="Rectangle 11"/>
              <p:cNvSpPr>
                <a:spLocks noChangeArrowheads="1"/>
              </p:cNvSpPr>
              <p:nvPr userDrawn="1"/>
            </p:nvSpPr>
            <p:spPr bwMode="auto">
              <a:xfrm>
                <a:off x="860425" y="4618038"/>
                <a:ext cx="92075" cy="41275"/>
              </a:xfrm>
              <a:prstGeom prst="rect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" name="Line 12"/>
              <p:cNvSpPr>
                <a:spLocks noChangeShapeType="1"/>
              </p:cNvSpPr>
              <p:nvPr userDrawn="1"/>
            </p:nvSpPr>
            <p:spPr bwMode="auto">
              <a:xfrm>
                <a:off x="554038" y="4659313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5" name="Line 13"/>
              <p:cNvSpPr>
                <a:spLocks noChangeShapeType="1"/>
              </p:cNvSpPr>
              <p:nvPr userDrawn="1"/>
            </p:nvSpPr>
            <p:spPr bwMode="auto">
              <a:xfrm>
                <a:off x="554038" y="4637088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6" name="Line 14"/>
              <p:cNvSpPr>
                <a:spLocks noChangeShapeType="1"/>
              </p:cNvSpPr>
              <p:nvPr userDrawn="1"/>
            </p:nvSpPr>
            <p:spPr bwMode="auto">
              <a:xfrm>
                <a:off x="554038" y="4618038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7" name="Line 16"/>
              <p:cNvSpPr>
                <a:spLocks noChangeShapeType="1"/>
              </p:cNvSpPr>
              <p:nvPr userDrawn="1"/>
            </p:nvSpPr>
            <p:spPr bwMode="auto">
              <a:xfrm flipH="1">
                <a:off x="989013" y="4667250"/>
                <a:ext cx="152400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8" name="Line 17"/>
              <p:cNvSpPr>
                <a:spLocks noChangeShapeType="1"/>
              </p:cNvSpPr>
              <p:nvPr userDrawn="1"/>
            </p:nvSpPr>
            <p:spPr bwMode="auto">
              <a:xfrm flipH="1">
                <a:off x="1573213" y="4667250"/>
                <a:ext cx="150813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9" name="Freeform 18"/>
              <p:cNvSpPr>
                <a:spLocks/>
              </p:cNvSpPr>
              <p:nvPr userDrawn="1"/>
            </p:nvSpPr>
            <p:spPr bwMode="auto">
              <a:xfrm>
                <a:off x="1160463" y="4279900"/>
                <a:ext cx="322263" cy="333375"/>
              </a:xfrm>
              <a:custGeom>
                <a:avLst/>
                <a:gdLst/>
                <a:ahLst/>
                <a:cxnLst>
                  <a:cxn ang="0">
                    <a:pos x="132" y="21"/>
                  </a:cxn>
                  <a:cxn ang="0">
                    <a:pos x="79" y="0"/>
                  </a:cxn>
                  <a:cxn ang="0">
                    <a:pos x="0" y="78"/>
                  </a:cxn>
                  <a:cxn ang="0">
                    <a:pos x="26" y="136"/>
                  </a:cxn>
                </a:cxnLst>
                <a:rect l="0" t="0" r="r" b="b"/>
                <a:pathLst>
                  <a:path w="132" h="136">
                    <a:moveTo>
                      <a:pt x="132" y="21"/>
                    </a:moveTo>
                    <a:cubicBezTo>
                      <a:pt x="118" y="8"/>
                      <a:pt x="99" y="0"/>
                      <a:pt x="79" y="0"/>
                    </a:cubicBezTo>
                    <a:cubicBezTo>
                      <a:pt x="35" y="0"/>
                      <a:pt x="0" y="35"/>
                      <a:pt x="0" y="78"/>
                    </a:cubicBezTo>
                    <a:cubicBezTo>
                      <a:pt x="0" y="101"/>
                      <a:pt x="10" y="122"/>
                      <a:pt x="26" y="136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0" name="Freeform 19"/>
              <p:cNvSpPr>
                <a:spLocks/>
              </p:cNvSpPr>
              <p:nvPr userDrawn="1"/>
            </p:nvSpPr>
            <p:spPr bwMode="auto">
              <a:xfrm>
                <a:off x="1484313" y="4418013"/>
                <a:ext cx="58738" cy="192088"/>
              </a:xfrm>
              <a:custGeom>
                <a:avLst/>
                <a:gdLst/>
                <a:ahLst/>
                <a:cxnLst>
                  <a:cxn ang="0">
                    <a:pos x="0" y="79"/>
                  </a:cxn>
                  <a:cxn ang="0">
                    <a:pos x="24" y="22"/>
                  </a:cxn>
                  <a:cxn ang="0">
                    <a:pos x="21" y="0"/>
                  </a:cxn>
                </a:cxnLst>
                <a:rect l="0" t="0" r="r" b="b"/>
                <a:pathLst>
                  <a:path w="24" h="79">
                    <a:moveTo>
                      <a:pt x="0" y="79"/>
                    </a:moveTo>
                    <a:cubicBezTo>
                      <a:pt x="15" y="65"/>
                      <a:pt x="24" y="45"/>
                      <a:pt x="24" y="22"/>
                    </a:cubicBezTo>
                    <a:cubicBezTo>
                      <a:pt x="24" y="15"/>
                      <a:pt x="23" y="7"/>
                      <a:pt x="21" y="0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1" name="Freeform 20"/>
              <p:cNvSpPr>
                <a:spLocks/>
              </p:cNvSpPr>
              <p:nvPr userDrawn="1"/>
            </p:nvSpPr>
            <p:spPr bwMode="auto">
              <a:xfrm>
                <a:off x="1441450" y="4332288"/>
                <a:ext cx="123825" cy="1143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32"/>
                  </a:cxn>
                  <a:cxn ang="0">
                    <a:pos x="0" y="32"/>
                  </a:cxn>
                  <a:cxn ang="0">
                    <a:pos x="38" y="72"/>
                  </a:cxn>
                  <a:cxn ang="0">
                    <a:pos x="78" y="32"/>
                  </a:cxn>
                  <a:cxn ang="0">
                    <a:pos x="54" y="32"/>
                  </a:cxn>
                  <a:cxn ang="0">
                    <a:pos x="54" y="0"/>
                  </a:cxn>
                </a:cxnLst>
                <a:rect l="0" t="0" r="r" b="b"/>
                <a:pathLst>
                  <a:path w="78" h="72">
                    <a:moveTo>
                      <a:pt x="26" y="0"/>
                    </a:moveTo>
                    <a:lnTo>
                      <a:pt x="26" y="32"/>
                    </a:lnTo>
                    <a:lnTo>
                      <a:pt x="0" y="32"/>
                    </a:lnTo>
                    <a:lnTo>
                      <a:pt x="38" y="72"/>
                    </a:lnTo>
                    <a:lnTo>
                      <a:pt x="78" y="32"/>
                    </a:lnTo>
                    <a:lnTo>
                      <a:pt x="54" y="32"/>
                    </a:lnTo>
                    <a:lnTo>
                      <a:pt x="54" y="0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2" name="Freeform 21"/>
              <p:cNvSpPr>
                <a:spLocks/>
              </p:cNvSpPr>
              <p:nvPr userDrawn="1"/>
            </p:nvSpPr>
            <p:spPr bwMode="auto">
              <a:xfrm>
                <a:off x="1141413" y="4613275"/>
                <a:ext cx="431800" cy="53975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0" y="22"/>
                  </a:cxn>
                  <a:cxn ang="0">
                    <a:pos x="22" y="0"/>
                  </a:cxn>
                  <a:cxn ang="0">
                    <a:pos x="155" y="0"/>
                  </a:cxn>
                  <a:cxn ang="0">
                    <a:pos x="177" y="22"/>
                  </a:cxn>
                </a:cxnLst>
                <a:rect l="0" t="0" r="r" b="b"/>
                <a:pathLst>
                  <a:path w="177" h="22">
                    <a:moveTo>
                      <a:pt x="0" y="22"/>
                    </a:move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67" y="0"/>
                      <a:pt x="177" y="10"/>
                      <a:pt x="177" y="22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3" name="Freeform 22"/>
              <p:cNvSpPr>
                <a:spLocks/>
              </p:cNvSpPr>
              <p:nvPr userDrawn="1"/>
            </p:nvSpPr>
            <p:spPr bwMode="auto">
              <a:xfrm>
                <a:off x="1270000" y="4327525"/>
                <a:ext cx="141288" cy="249238"/>
              </a:xfrm>
              <a:custGeom>
                <a:avLst/>
                <a:gdLst/>
                <a:ahLst/>
                <a:cxnLst>
                  <a:cxn ang="0">
                    <a:pos x="24" y="59"/>
                  </a:cxn>
                  <a:cxn ang="0">
                    <a:pos x="35" y="67"/>
                  </a:cxn>
                  <a:cxn ang="0">
                    <a:pos x="26" y="73"/>
                  </a:cxn>
                  <a:cxn ang="0">
                    <a:pos x="8" y="69"/>
                  </a:cxn>
                  <a:cxn ang="0">
                    <a:pos x="7" y="68"/>
                  </a:cxn>
                  <a:cxn ang="0">
                    <a:pos x="4" y="71"/>
                  </a:cxn>
                  <a:cxn ang="0">
                    <a:pos x="1" y="83"/>
                  </a:cxn>
                  <a:cxn ang="0">
                    <a:pos x="3" y="86"/>
                  </a:cxn>
                  <a:cxn ang="0">
                    <a:pos x="21" y="91"/>
                  </a:cxn>
                  <a:cxn ang="0">
                    <a:pos x="21" y="99"/>
                  </a:cxn>
                  <a:cxn ang="0">
                    <a:pos x="24" y="102"/>
                  </a:cxn>
                  <a:cxn ang="0">
                    <a:pos x="34" y="102"/>
                  </a:cxn>
                  <a:cxn ang="0">
                    <a:pos x="37" y="99"/>
                  </a:cxn>
                  <a:cxn ang="0">
                    <a:pos x="37" y="89"/>
                  </a:cxn>
                  <a:cxn ang="0">
                    <a:pos x="58" y="65"/>
                  </a:cxn>
                  <a:cxn ang="0">
                    <a:pos x="36" y="41"/>
                  </a:cxn>
                  <a:cxn ang="0">
                    <a:pos x="23" y="33"/>
                  </a:cxn>
                  <a:cxn ang="0">
                    <a:pos x="31" y="28"/>
                  </a:cxn>
                  <a:cxn ang="0">
                    <a:pos x="46" y="31"/>
                  </a:cxn>
                  <a:cxn ang="0">
                    <a:pos x="47" y="32"/>
                  </a:cxn>
                  <a:cxn ang="0">
                    <a:pos x="50" y="29"/>
                  </a:cxn>
                  <a:cxn ang="0">
                    <a:pos x="53" y="18"/>
                  </a:cxn>
                  <a:cxn ang="0">
                    <a:pos x="51" y="14"/>
                  </a:cxn>
                  <a:cxn ang="0">
                    <a:pos x="36" y="11"/>
                  </a:cxn>
                  <a:cxn ang="0">
                    <a:pos x="36" y="3"/>
                  </a:cxn>
                  <a:cxn ang="0">
                    <a:pos x="32" y="0"/>
                  </a:cxn>
                  <a:cxn ang="0">
                    <a:pos x="23" y="0"/>
                  </a:cxn>
                  <a:cxn ang="0">
                    <a:pos x="20" y="4"/>
                  </a:cxn>
                  <a:cxn ang="0">
                    <a:pos x="20" y="12"/>
                  </a:cxn>
                  <a:cxn ang="0">
                    <a:pos x="0" y="36"/>
                  </a:cxn>
                  <a:cxn ang="0">
                    <a:pos x="24" y="59"/>
                  </a:cxn>
                </a:cxnLst>
                <a:rect l="0" t="0" r="r" b="b"/>
                <a:pathLst>
                  <a:path w="58" h="102">
                    <a:moveTo>
                      <a:pt x="24" y="59"/>
                    </a:moveTo>
                    <a:cubicBezTo>
                      <a:pt x="33" y="62"/>
                      <a:pt x="35" y="64"/>
                      <a:pt x="35" y="67"/>
                    </a:cubicBezTo>
                    <a:cubicBezTo>
                      <a:pt x="35" y="71"/>
                      <a:pt x="30" y="73"/>
                      <a:pt x="26" y="73"/>
                    </a:cubicBezTo>
                    <a:cubicBezTo>
                      <a:pt x="18" y="73"/>
                      <a:pt x="12" y="70"/>
                      <a:pt x="8" y="69"/>
                    </a:cubicBezTo>
                    <a:cubicBezTo>
                      <a:pt x="8" y="68"/>
                      <a:pt x="7" y="68"/>
                      <a:pt x="7" y="68"/>
                    </a:cubicBezTo>
                    <a:cubicBezTo>
                      <a:pt x="5" y="68"/>
                      <a:pt x="4" y="69"/>
                      <a:pt x="4" y="71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4"/>
                      <a:pt x="1" y="86"/>
                      <a:pt x="3" y="86"/>
                    </a:cubicBezTo>
                    <a:cubicBezTo>
                      <a:pt x="8" y="89"/>
                      <a:pt x="15" y="90"/>
                      <a:pt x="21" y="91"/>
                    </a:cubicBezTo>
                    <a:cubicBezTo>
                      <a:pt x="21" y="99"/>
                      <a:pt x="21" y="99"/>
                      <a:pt x="21" y="99"/>
                    </a:cubicBezTo>
                    <a:cubicBezTo>
                      <a:pt x="21" y="101"/>
                      <a:pt x="23" y="102"/>
                      <a:pt x="2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6" y="102"/>
                      <a:pt x="37" y="100"/>
                      <a:pt x="37" y="99"/>
                    </a:cubicBezTo>
                    <a:cubicBezTo>
                      <a:pt x="37" y="89"/>
                      <a:pt x="37" y="89"/>
                      <a:pt x="37" y="89"/>
                    </a:cubicBezTo>
                    <a:cubicBezTo>
                      <a:pt x="50" y="86"/>
                      <a:pt x="58" y="77"/>
                      <a:pt x="58" y="65"/>
                    </a:cubicBezTo>
                    <a:cubicBezTo>
                      <a:pt x="57" y="53"/>
                      <a:pt x="51" y="46"/>
                      <a:pt x="36" y="41"/>
                    </a:cubicBezTo>
                    <a:cubicBezTo>
                      <a:pt x="26" y="38"/>
                      <a:pt x="23" y="36"/>
                      <a:pt x="23" y="33"/>
                    </a:cubicBezTo>
                    <a:cubicBezTo>
                      <a:pt x="23" y="29"/>
                      <a:pt x="28" y="28"/>
                      <a:pt x="31" y="28"/>
                    </a:cubicBezTo>
                    <a:cubicBezTo>
                      <a:pt x="38" y="28"/>
                      <a:pt x="43" y="30"/>
                      <a:pt x="46" y="3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32"/>
                      <a:pt x="50" y="31"/>
                      <a:pt x="50" y="29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6"/>
                      <a:pt x="53" y="14"/>
                      <a:pt x="51" y="14"/>
                    </a:cubicBezTo>
                    <a:cubicBezTo>
                      <a:pt x="46" y="12"/>
                      <a:pt x="41" y="11"/>
                      <a:pt x="36" y="11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6" y="1"/>
                      <a:pt x="34" y="0"/>
                      <a:pt x="32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1" y="0"/>
                      <a:pt x="20" y="2"/>
                      <a:pt x="20" y="4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7" y="15"/>
                      <a:pt x="0" y="24"/>
                      <a:pt x="0" y="36"/>
                    </a:cubicBezTo>
                    <a:cubicBezTo>
                      <a:pt x="1" y="50"/>
                      <a:pt x="13" y="56"/>
                      <a:pt x="24" y="59"/>
                    </a:cubicBezTo>
                    <a:close/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4" name="Oval 23"/>
              <p:cNvSpPr>
                <a:spLocks noChangeArrowheads="1"/>
              </p:cNvSpPr>
              <p:nvPr userDrawn="1"/>
            </p:nvSpPr>
            <p:spPr bwMode="auto">
              <a:xfrm>
                <a:off x="1887538" y="4314825"/>
                <a:ext cx="49213" cy="55563"/>
              </a:xfrm>
              <a:prstGeom prst="ellips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5" name="Freeform 24"/>
              <p:cNvSpPr>
                <a:spLocks/>
              </p:cNvSpPr>
              <p:nvPr userDrawn="1"/>
            </p:nvSpPr>
            <p:spPr bwMode="auto">
              <a:xfrm>
                <a:off x="1985963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6" name="Freeform 25"/>
              <p:cNvSpPr>
                <a:spLocks/>
              </p:cNvSpPr>
              <p:nvPr userDrawn="1"/>
            </p:nvSpPr>
            <p:spPr bwMode="auto">
              <a:xfrm>
                <a:off x="1895475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7" name="Freeform 26"/>
              <p:cNvSpPr>
                <a:spLocks/>
              </p:cNvSpPr>
              <p:nvPr userDrawn="1"/>
            </p:nvSpPr>
            <p:spPr bwMode="auto">
              <a:xfrm>
                <a:off x="1809750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8" name="Freeform 27"/>
              <p:cNvSpPr>
                <a:spLocks/>
              </p:cNvSpPr>
              <p:nvPr userDrawn="1"/>
            </p:nvSpPr>
            <p:spPr bwMode="auto">
              <a:xfrm>
                <a:off x="1741488" y="4260850"/>
                <a:ext cx="357188" cy="330200"/>
              </a:xfrm>
              <a:custGeom>
                <a:avLst/>
                <a:gdLst/>
                <a:ahLst/>
                <a:cxnLst>
                  <a:cxn ang="0">
                    <a:pos x="14" y="134"/>
                  </a:cxn>
                  <a:cxn ang="0">
                    <a:pos x="14" y="62"/>
                  </a:cxn>
                  <a:cxn ang="0">
                    <a:pos x="10" y="60"/>
                  </a:cxn>
                  <a:cxn ang="0">
                    <a:pos x="0" y="60"/>
                  </a:cxn>
                  <a:cxn ang="0">
                    <a:pos x="0" y="50"/>
                  </a:cxn>
                  <a:cxn ang="0">
                    <a:pos x="67" y="4"/>
                  </a:cxn>
                  <a:cxn ang="0">
                    <a:pos x="75" y="4"/>
                  </a:cxn>
                  <a:cxn ang="0">
                    <a:pos x="145" y="47"/>
                  </a:cxn>
                  <a:cxn ang="0">
                    <a:pos x="145" y="57"/>
                  </a:cxn>
                  <a:cxn ang="0">
                    <a:pos x="141" y="61"/>
                  </a:cxn>
                  <a:cxn ang="0">
                    <a:pos x="136" y="61"/>
                  </a:cxn>
                  <a:cxn ang="0">
                    <a:pos x="136" y="135"/>
                  </a:cxn>
                </a:cxnLst>
                <a:rect l="0" t="0" r="r" b="b"/>
                <a:pathLst>
                  <a:path w="146" h="135">
                    <a:moveTo>
                      <a:pt x="14" y="134"/>
                    </a:move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2"/>
                      <a:pt x="15" y="60"/>
                      <a:pt x="1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51" y="16"/>
                      <a:pt x="67" y="4"/>
                    </a:cubicBezTo>
                    <a:cubicBezTo>
                      <a:pt x="69" y="3"/>
                      <a:pt x="71" y="0"/>
                      <a:pt x="75" y="4"/>
                    </a:cubicBezTo>
                    <a:cubicBezTo>
                      <a:pt x="80" y="7"/>
                      <a:pt x="145" y="47"/>
                      <a:pt x="145" y="47"/>
                    </a:cubicBezTo>
                    <a:cubicBezTo>
                      <a:pt x="145" y="57"/>
                      <a:pt x="145" y="57"/>
                      <a:pt x="145" y="57"/>
                    </a:cubicBezTo>
                    <a:cubicBezTo>
                      <a:pt x="145" y="57"/>
                      <a:pt x="146" y="61"/>
                      <a:pt x="141" y="61"/>
                    </a:cubicBezTo>
                    <a:cubicBezTo>
                      <a:pt x="136" y="61"/>
                      <a:pt x="136" y="61"/>
                      <a:pt x="136" y="61"/>
                    </a:cubicBezTo>
                    <a:cubicBezTo>
                      <a:pt x="136" y="135"/>
                      <a:pt x="136" y="135"/>
                      <a:pt x="136" y="135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9" name="Freeform 28"/>
              <p:cNvSpPr>
                <a:spLocks/>
              </p:cNvSpPr>
              <p:nvPr userDrawn="1"/>
            </p:nvSpPr>
            <p:spPr bwMode="auto">
              <a:xfrm>
                <a:off x="1717675" y="4592638"/>
                <a:ext cx="41275" cy="68263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3" y="28"/>
                  </a:cxn>
                </a:cxnLst>
                <a:rect l="0" t="0" r="r" b="b"/>
                <a:pathLst>
                  <a:path w="17" h="28">
                    <a:moveTo>
                      <a:pt x="17" y="0"/>
                    </a:moveTo>
                    <a:cubicBezTo>
                      <a:pt x="0" y="10"/>
                      <a:pt x="3" y="28"/>
                      <a:pt x="3" y="28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0" name="Freeform 30"/>
              <p:cNvSpPr>
                <a:spLocks/>
              </p:cNvSpPr>
              <p:nvPr userDrawn="1"/>
            </p:nvSpPr>
            <p:spPr bwMode="auto">
              <a:xfrm>
                <a:off x="2090738" y="4595813"/>
                <a:ext cx="44450" cy="682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8"/>
                  </a:cxn>
                </a:cxnLst>
                <a:rect l="0" t="0" r="r" b="b"/>
                <a:pathLst>
                  <a:path w="18" h="28">
                    <a:moveTo>
                      <a:pt x="0" y="0"/>
                    </a:moveTo>
                    <a:cubicBezTo>
                      <a:pt x="18" y="10"/>
                      <a:pt x="14" y="28"/>
                      <a:pt x="14" y="28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281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C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02 Agenda_Banking -2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7048"/>
            <a:ext cx="12192000" cy="5583771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auto">
          <a:xfrm>
            <a:off x="0" y="1082964"/>
            <a:ext cx="5791200" cy="5258619"/>
          </a:xfrm>
          <a:prstGeom prst="rect">
            <a:avLst/>
          </a:prstGeom>
          <a:gradFill>
            <a:gsLst>
              <a:gs pos="0">
                <a:schemeClr val="bg1">
                  <a:alpha val="75000"/>
                </a:schemeClr>
              </a:gs>
              <a:gs pos="43000">
                <a:schemeClr val="bg1">
                  <a:alpha val="50000"/>
                </a:schemeClr>
              </a:gs>
              <a:gs pos="100000">
                <a:schemeClr val="bg1">
                  <a:alpha val="1000"/>
                </a:schemeClr>
              </a:gs>
            </a:gsLst>
            <a:lin ang="0" scaled="0"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7" b="1" dirty="0">
              <a:solidFill>
                <a:srgbClr val="00234B"/>
              </a:solidFill>
              <a:cs typeface="Arial" charset="0"/>
            </a:endParaRPr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3" y="-25"/>
            <a:ext cx="12191999" cy="1404548"/>
          </a:xfrm>
          <a:custGeom>
            <a:avLst/>
            <a:gdLst>
              <a:gd name="connsiteX0" fmla="*/ 10122 w 10613"/>
              <a:gd name="connsiteY0" fmla="*/ 4537 h 10000"/>
              <a:gd name="connsiteX1" fmla="*/ 1585 w 10613"/>
              <a:gd name="connsiteY1" fmla="*/ 4537 h 10000"/>
              <a:gd name="connsiteX2" fmla="*/ 613 w 10613"/>
              <a:gd name="connsiteY2" fmla="*/ 4537 h 10000"/>
              <a:gd name="connsiteX3" fmla="*/ 613 w 10613"/>
              <a:gd name="connsiteY3" fmla="*/ 5463 h 10000"/>
              <a:gd name="connsiteX4" fmla="*/ 1097 w 10613"/>
              <a:gd name="connsiteY4" fmla="*/ 10000 h 10000"/>
              <a:gd name="connsiteX5" fmla="*/ 1585 w 10613"/>
              <a:gd name="connsiteY5" fmla="*/ 5463 h 10000"/>
              <a:gd name="connsiteX6" fmla="*/ 10122 w 10613"/>
              <a:gd name="connsiteY6" fmla="*/ 5463 h 10000"/>
              <a:gd name="connsiteX7" fmla="*/ 10613 w 10613"/>
              <a:gd name="connsiteY7" fmla="*/ 927 h 10000"/>
              <a:gd name="connsiteX8" fmla="*/ 10613 w 10613"/>
              <a:gd name="connsiteY8" fmla="*/ 0 h 10000"/>
              <a:gd name="connsiteX9" fmla="*/ 10122 w 10613"/>
              <a:gd name="connsiteY9" fmla="*/ 4537 h 10000"/>
              <a:gd name="connsiteX0" fmla="*/ 10122 w 10613"/>
              <a:gd name="connsiteY0" fmla="*/ 13981 h 19444"/>
              <a:gd name="connsiteX1" fmla="*/ 1585 w 10613"/>
              <a:gd name="connsiteY1" fmla="*/ 13981 h 19444"/>
              <a:gd name="connsiteX2" fmla="*/ 613 w 10613"/>
              <a:gd name="connsiteY2" fmla="*/ 154 h 19444"/>
              <a:gd name="connsiteX3" fmla="*/ 613 w 10613"/>
              <a:gd name="connsiteY3" fmla="*/ 14907 h 19444"/>
              <a:gd name="connsiteX4" fmla="*/ 1097 w 10613"/>
              <a:gd name="connsiteY4" fmla="*/ 19444 h 19444"/>
              <a:gd name="connsiteX5" fmla="*/ 1585 w 10613"/>
              <a:gd name="connsiteY5" fmla="*/ 14907 h 19444"/>
              <a:gd name="connsiteX6" fmla="*/ 10122 w 10613"/>
              <a:gd name="connsiteY6" fmla="*/ 14907 h 19444"/>
              <a:gd name="connsiteX7" fmla="*/ 10613 w 10613"/>
              <a:gd name="connsiteY7" fmla="*/ 10371 h 19444"/>
              <a:gd name="connsiteX8" fmla="*/ 10613 w 10613"/>
              <a:gd name="connsiteY8" fmla="*/ 9444 h 19444"/>
              <a:gd name="connsiteX9" fmla="*/ 10122 w 10613"/>
              <a:gd name="connsiteY9" fmla="*/ 13981 h 19444"/>
              <a:gd name="connsiteX0" fmla="*/ 9509 w 10000"/>
              <a:gd name="connsiteY0" fmla="*/ 13827 h 19290"/>
              <a:gd name="connsiteX1" fmla="*/ 972 w 10000"/>
              <a:gd name="connsiteY1" fmla="*/ 13827 h 19290"/>
              <a:gd name="connsiteX2" fmla="*/ 0 w 10000"/>
              <a:gd name="connsiteY2" fmla="*/ 0 h 19290"/>
              <a:gd name="connsiteX3" fmla="*/ 0 w 10000"/>
              <a:gd name="connsiteY3" fmla="*/ 14753 h 19290"/>
              <a:gd name="connsiteX4" fmla="*/ 484 w 10000"/>
              <a:gd name="connsiteY4" fmla="*/ 19290 h 19290"/>
              <a:gd name="connsiteX5" fmla="*/ 972 w 10000"/>
              <a:gd name="connsiteY5" fmla="*/ 14753 h 19290"/>
              <a:gd name="connsiteX6" fmla="*/ 9509 w 10000"/>
              <a:gd name="connsiteY6" fmla="*/ 14753 h 19290"/>
              <a:gd name="connsiteX7" fmla="*/ 10000 w 10000"/>
              <a:gd name="connsiteY7" fmla="*/ 10217 h 19290"/>
              <a:gd name="connsiteX8" fmla="*/ 10000 w 10000"/>
              <a:gd name="connsiteY8" fmla="*/ 9290 h 19290"/>
              <a:gd name="connsiteX9" fmla="*/ 9509 w 10000"/>
              <a:gd name="connsiteY9" fmla="*/ 13827 h 19290"/>
              <a:gd name="connsiteX0" fmla="*/ 9509 w 10000"/>
              <a:gd name="connsiteY0" fmla="*/ 13827 h 19290"/>
              <a:gd name="connsiteX1" fmla="*/ 930 w 10000"/>
              <a:gd name="connsiteY1" fmla="*/ 0 h 19290"/>
              <a:gd name="connsiteX2" fmla="*/ 0 w 10000"/>
              <a:gd name="connsiteY2" fmla="*/ 0 h 19290"/>
              <a:gd name="connsiteX3" fmla="*/ 0 w 10000"/>
              <a:gd name="connsiteY3" fmla="*/ 14753 h 19290"/>
              <a:gd name="connsiteX4" fmla="*/ 484 w 10000"/>
              <a:gd name="connsiteY4" fmla="*/ 19290 h 19290"/>
              <a:gd name="connsiteX5" fmla="*/ 972 w 10000"/>
              <a:gd name="connsiteY5" fmla="*/ 14753 h 19290"/>
              <a:gd name="connsiteX6" fmla="*/ 9509 w 10000"/>
              <a:gd name="connsiteY6" fmla="*/ 14753 h 19290"/>
              <a:gd name="connsiteX7" fmla="*/ 10000 w 10000"/>
              <a:gd name="connsiteY7" fmla="*/ 10217 h 19290"/>
              <a:gd name="connsiteX8" fmla="*/ 10000 w 10000"/>
              <a:gd name="connsiteY8" fmla="*/ 9290 h 19290"/>
              <a:gd name="connsiteX9" fmla="*/ 9509 w 10000"/>
              <a:gd name="connsiteY9" fmla="*/ 13827 h 19290"/>
              <a:gd name="connsiteX0" fmla="*/ 9509 w 10000"/>
              <a:gd name="connsiteY0" fmla="*/ 13827 h 19290"/>
              <a:gd name="connsiteX1" fmla="*/ 0 w 10000"/>
              <a:gd name="connsiteY1" fmla="*/ 0 h 19290"/>
              <a:gd name="connsiteX2" fmla="*/ 0 w 10000"/>
              <a:gd name="connsiteY2" fmla="*/ 14753 h 19290"/>
              <a:gd name="connsiteX3" fmla="*/ 484 w 10000"/>
              <a:gd name="connsiteY3" fmla="*/ 19290 h 19290"/>
              <a:gd name="connsiteX4" fmla="*/ 972 w 10000"/>
              <a:gd name="connsiteY4" fmla="*/ 14753 h 19290"/>
              <a:gd name="connsiteX5" fmla="*/ 9509 w 10000"/>
              <a:gd name="connsiteY5" fmla="*/ 14753 h 19290"/>
              <a:gd name="connsiteX6" fmla="*/ 10000 w 10000"/>
              <a:gd name="connsiteY6" fmla="*/ 10217 h 19290"/>
              <a:gd name="connsiteX7" fmla="*/ 10000 w 10000"/>
              <a:gd name="connsiteY7" fmla="*/ 9290 h 19290"/>
              <a:gd name="connsiteX8" fmla="*/ 9509 w 10000"/>
              <a:gd name="connsiteY8" fmla="*/ 13827 h 19290"/>
              <a:gd name="connsiteX0" fmla="*/ 10000 w 10000"/>
              <a:gd name="connsiteY0" fmla="*/ 10201 h 20201"/>
              <a:gd name="connsiteX1" fmla="*/ 0 w 10000"/>
              <a:gd name="connsiteY1" fmla="*/ 911 h 20201"/>
              <a:gd name="connsiteX2" fmla="*/ 0 w 10000"/>
              <a:gd name="connsiteY2" fmla="*/ 15664 h 20201"/>
              <a:gd name="connsiteX3" fmla="*/ 484 w 10000"/>
              <a:gd name="connsiteY3" fmla="*/ 20201 h 20201"/>
              <a:gd name="connsiteX4" fmla="*/ 972 w 10000"/>
              <a:gd name="connsiteY4" fmla="*/ 15664 h 20201"/>
              <a:gd name="connsiteX5" fmla="*/ 9509 w 10000"/>
              <a:gd name="connsiteY5" fmla="*/ 15664 h 20201"/>
              <a:gd name="connsiteX6" fmla="*/ 10000 w 10000"/>
              <a:gd name="connsiteY6" fmla="*/ 11128 h 20201"/>
              <a:gd name="connsiteX7" fmla="*/ 10000 w 10000"/>
              <a:gd name="connsiteY7" fmla="*/ 10201 h 20201"/>
              <a:gd name="connsiteX0" fmla="*/ 10000 w 10000"/>
              <a:gd name="connsiteY0" fmla="*/ 1703 h 20993"/>
              <a:gd name="connsiteX1" fmla="*/ 0 w 10000"/>
              <a:gd name="connsiteY1" fmla="*/ 1703 h 20993"/>
              <a:gd name="connsiteX2" fmla="*/ 0 w 10000"/>
              <a:gd name="connsiteY2" fmla="*/ 16456 h 20993"/>
              <a:gd name="connsiteX3" fmla="*/ 484 w 10000"/>
              <a:gd name="connsiteY3" fmla="*/ 20993 h 20993"/>
              <a:gd name="connsiteX4" fmla="*/ 972 w 10000"/>
              <a:gd name="connsiteY4" fmla="*/ 16456 h 20993"/>
              <a:gd name="connsiteX5" fmla="*/ 9509 w 10000"/>
              <a:gd name="connsiteY5" fmla="*/ 16456 h 20993"/>
              <a:gd name="connsiteX6" fmla="*/ 10000 w 10000"/>
              <a:gd name="connsiteY6" fmla="*/ 11920 h 20993"/>
              <a:gd name="connsiteX7" fmla="*/ 10000 w 10000"/>
              <a:gd name="connsiteY7" fmla="*/ 1703 h 20993"/>
              <a:gd name="connsiteX0" fmla="*/ 10000 w 10000"/>
              <a:gd name="connsiteY0" fmla="*/ 0 h 19290"/>
              <a:gd name="connsiteX1" fmla="*/ 0 w 10000"/>
              <a:gd name="connsiteY1" fmla="*/ 0 h 19290"/>
              <a:gd name="connsiteX2" fmla="*/ 0 w 10000"/>
              <a:gd name="connsiteY2" fmla="*/ 14753 h 19290"/>
              <a:gd name="connsiteX3" fmla="*/ 484 w 10000"/>
              <a:gd name="connsiteY3" fmla="*/ 19290 h 19290"/>
              <a:gd name="connsiteX4" fmla="*/ 972 w 10000"/>
              <a:gd name="connsiteY4" fmla="*/ 14753 h 19290"/>
              <a:gd name="connsiteX5" fmla="*/ 9509 w 10000"/>
              <a:gd name="connsiteY5" fmla="*/ 14753 h 19290"/>
              <a:gd name="connsiteX6" fmla="*/ 10000 w 10000"/>
              <a:gd name="connsiteY6" fmla="*/ 10217 h 19290"/>
              <a:gd name="connsiteX7" fmla="*/ 10000 w 10000"/>
              <a:gd name="connsiteY7" fmla="*/ 0 h 19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9290">
                <a:moveTo>
                  <a:pt x="10000" y="0"/>
                </a:moveTo>
                <a:lnTo>
                  <a:pt x="0" y="0"/>
                </a:lnTo>
                <a:lnTo>
                  <a:pt x="0" y="14753"/>
                </a:lnTo>
                <a:cubicBezTo>
                  <a:pt x="382" y="14753"/>
                  <a:pt x="484" y="19290"/>
                  <a:pt x="484" y="19290"/>
                </a:cubicBezTo>
                <a:cubicBezTo>
                  <a:pt x="484" y="19290"/>
                  <a:pt x="587" y="14753"/>
                  <a:pt x="972" y="14753"/>
                </a:cubicBezTo>
                <a:lnTo>
                  <a:pt x="9509" y="14753"/>
                </a:lnTo>
                <a:cubicBezTo>
                  <a:pt x="9894" y="14753"/>
                  <a:pt x="10000" y="10217"/>
                  <a:pt x="10000" y="10217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3131" tIns="56565" rIns="113131" bIns="56565" numCol="1" anchor="t" anchorCtr="0" compatLnSpc="1">
            <a:prstTxWarp prst="textNoShape">
              <a:avLst/>
            </a:prstTxWarp>
          </a:bodyPr>
          <a:lstStyle/>
          <a:p>
            <a:pPr defTabSz="1088239"/>
            <a:endParaRPr lang="fr-FR" sz="2133" dirty="0">
              <a:solidFill>
                <a:srgbClr val="B701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19101" y="1496484"/>
            <a:ext cx="8752417" cy="3596216"/>
          </a:xfrm>
        </p:spPr>
        <p:txBody>
          <a:bodyPr lIns="91440"/>
          <a:lstStyle>
            <a:lvl1pPr>
              <a:buClr>
                <a:schemeClr val="bg1"/>
              </a:buClr>
              <a:defRPr sz="2133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67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67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2700" y="5681134"/>
            <a:ext cx="12179301" cy="584201"/>
            <a:chOff x="9525" y="4260850"/>
            <a:chExt cx="9134476" cy="438151"/>
          </a:xfrm>
        </p:grpSpPr>
        <p:sp>
          <p:nvSpPr>
            <p:cNvPr id="9" name="Line 15"/>
            <p:cNvSpPr>
              <a:spLocks noChangeShapeType="1"/>
            </p:cNvSpPr>
            <p:nvPr userDrawn="1"/>
          </p:nvSpPr>
          <p:spPr bwMode="auto">
            <a:xfrm flipH="1">
              <a:off x="9525" y="4668838"/>
              <a:ext cx="415290" cy="0"/>
            </a:xfrm>
            <a:prstGeom prst="line">
              <a:avLst/>
            </a:prstGeom>
            <a:noFill/>
            <a:ln w="11113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88239"/>
              <a:endParaRPr lang="en-US" sz="2133" dirty="0">
                <a:solidFill>
                  <a:srgbClr val="00234B"/>
                </a:solidFill>
              </a:endParaRPr>
            </a:p>
          </p:txBody>
        </p:sp>
        <p:sp>
          <p:nvSpPr>
            <p:cNvPr id="10" name="Line 29"/>
            <p:cNvSpPr>
              <a:spLocks noChangeShapeType="1"/>
            </p:cNvSpPr>
            <p:nvPr userDrawn="1"/>
          </p:nvSpPr>
          <p:spPr bwMode="auto">
            <a:xfrm>
              <a:off x="2042161" y="4668838"/>
              <a:ext cx="7101840" cy="0"/>
            </a:xfrm>
            <a:prstGeom prst="line">
              <a:avLst/>
            </a:prstGeom>
            <a:noFill/>
            <a:ln w="11113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88239"/>
              <a:endParaRPr lang="en-US" sz="2133" dirty="0">
                <a:solidFill>
                  <a:srgbClr val="00234B"/>
                </a:solidFill>
              </a:endParaRPr>
            </a:p>
          </p:txBody>
        </p:sp>
        <p:grpSp>
          <p:nvGrpSpPr>
            <p:cNvPr id="11" name="Group 36"/>
            <p:cNvGrpSpPr/>
            <p:nvPr userDrawn="1"/>
          </p:nvGrpSpPr>
          <p:grpSpPr>
            <a:xfrm>
              <a:off x="428625" y="4260850"/>
              <a:ext cx="1624013" cy="438151"/>
              <a:chOff x="511175" y="4260850"/>
              <a:chExt cx="1624013" cy="438151"/>
            </a:xfrm>
          </p:grpSpPr>
          <p:sp>
            <p:nvSpPr>
              <p:cNvPr id="12" name="Freeform 9"/>
              <p:cNvSpPr>
                <a:spLocks/>
              </p:cNvSpPr>
              <p:nvPr userDrawn="1"/>
            </p:nvSpPr>
            <p:spPr bwMode="auto">
              <a:xfrm>
                <a:off x="511175" y="4422775"/>
                <a:ext cx="476250" cy="109538"/>
              </a:xfrm>
              <a:custGeom>
                <a:avLst/>
                <a:gdLst/>
                <a:ahLst/>
                <a:cxnLst>
                  <a:cxn ang="0">
                    <a:pos x="1" y="45"/>
                  </a:cxn>
                  <a:cxn ang="0">
                    <a:pos x="1" y="8"/>
                  </a:cxn>
                  <a:cxn ang="0">
                    <a:pos x="8" y="0"/>
                  </a:cxn>
                  <a:cxn ang="0">
                    <a:pos x="188" y="0"/>
                  </a:cxn>
                  <a:cxn ang="0">
                    <a:pos x="195" y="8"/>
                  </a:cxn>
                  <a:cxn ang="0">
                    <a:pos x="195" y="23"/>
                  </a:cxn>
                  <a:cxn ang="0">
                    <a:pos x="16" y="23"/>
                  </a:cxn>
                </a:cxnLst>
                <a:rect l="0" t="0" r="r" b="b"/>
                <a:pathLst>
                  <a:path w="195" h="45">
                    <a:moveTo>
                      <a:pt x="1" y="45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3" y="0"/>
                      <a:pt x="195" y="4"/>
                      <a:pt x="195" y="8"/>
                    </a:cubicBezTo>
                    <a:cubicBezTo>
                      <a:pt x="195" y="23"/>
                      <a:pt x="195" y="23"/>
                      <a:pt x="195" y="23"/>
                    </a:cubicBezTo>
                    <a:cubicBezTo>
                      <a:pt x="16" y="23"/>
                      <a:pt x="16" y="23"/>
                      <a:pt x="16" y="23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3" name="Freeform 10"/>
              <p:cNvSpPr>
                <a:spLocks/>
              </p:cNvSpPr>
              <p:nvPr userDrawn="1"/>
            </p:nvSpPr>
            <p:spPr bwMode="auto">
              <a:xfrm>
                <a:off x="511175" y="4532313"/>
                <a:ext cx="476250" cy="166688"/>
              </a:xfrm>
              <a:custGeom>
                <a:avLst/>
                <a:gdLst/>
                <a:ahLst/>
                <a:cxnLst>
                  <a:cxn ang="0">
                    <a:pos x="180" y="0"/>
                  </a:cxn>
                  <a:cxn ang="0">
                    <a:pos x="1" y="0"/>
                  </a:cxn>
                  <a:cxn ang="0">
                    <a:pos x="1" y="60"/>
                  </a:cxn>
                  <a:cxn ang="0">
                    <a:pos x="8" y="68"/>
                  </a:cxn>
                  <a:cxn ang="0">
                    <a:pos x="188" y="68"/>
                  </a:cxn>
                  <a:cxn ang="0">
                    <a:pos x="195" y="60"/>
                  </a:cxn>
                  <a:cxn ang="0">
                    <a:pos x="195" y="0"/>
                  </a:cxn>
                </a:cxnLst>
                <a:rect l="0" t="0" r="r" b="b"/>
                <a:pathLst>
                  <a:path w="195" h="68">
                    <a:moveTo>
                      <a:pt x="18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5"/>
                      <a:pt x="3" y="68"/>
                      <a:pt x="8" y="68"/>
                    </a:cubicBezTo>
                    <a:cubicBezTo>
                      <a:pt x="188" y="68"/>
                      <a:pt x="188" y="68"/>
                      <a:pt x="188" y="68"/>
                    </a:cubicBezTo>
                    <a:cubicBezTo>
                      <a:pt x="192" y="68"/>
                      <a:pt x="195" y="65"/>
                      <a:pt x="195" y="60"/>
                    </a:cubicBezTo>
                    <a:cubicBezTo>
                      <a:pt x="195" y="0"/>
                      <a:pt x="195" y="0"/>
                      <a:pt x="195" y="0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" name="Rectangle 11"/>
              <p:cNvSpPr>
                <a:spLocks noChangeArrowheads="1"/>
              </p:cNvSpPr>
              <p:nvPr userDrawn="1"/>
            </p:nvSpPr>
            <p:spPr bwMode="auto">
              <a:xfrm>
                <a:off x="860425" y="4618038"/>
                <a:ext cx="92075" cy="41275"/>
              </a:xfrm>
              <a:prstGeom prst="rect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5" name="Line 12"/>
              <p:cNvSpPr>
                <a:spLocks noChangeShapeType="1"/>
              </p:cNvSpPr>
              <p:nvPr userDrawn="1"/>
            </p:nvSpPr>
            <p:spPr bwMode="auto">
              <a:xfrm>
                <a:off x="554038" y="4659313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6" name="Line 13"/>
              <p:cNvSpPr>
                <a:spLocks noChangeShapeType="1"/>
              </p:cNvSpPr>
              <p:nvPr userDrawn="1"/>
            </p:nvSpPr>
            <p:spPr bwMode="auto">
              <a:xfrm>
                <a:off x="554038" y="4637088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7" name="Line 14"/>
              <p:cNvSpPr>
                <a:spLocks noChangeShapeType="1"/>
              </p:cNvSpPr>
              <p:nvPr userDrawn="1"/>
            </p:nvSpPr>
            <p:spPr bwMode="auto">
              <a:xfrm>
                <a:off x="554038" y="4618038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8" name="Line 16"/>
              <p:cNvSpPr>
                <a:spLocks noChangeShapeType="1"/>
              </p:cNvSpPr>
              <p:nvPr userDrawn="1"/>
            </p:nvSpPr>
            <p:spPr bwMode="auto">
              <a:xfrm flipH="1">
                <a:off x="989013" y="4667250"/>
                <a:ext cx="152400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9" name="Line 17"/>
              <p:cNvSpPr>
                <a:spLocks noChangeShapeType="1"/>
              </p:cNvSpPr>
              <p:nvPr userDrawn="1"/>
            </p:nvSpPr>
            <p:spPr bwMode="auto">
              <a:xfrm flipH="1">
                <a:off x="1573213" y="4667250"/>
                <a:ext cx="150813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0" name="Freeform 18"/>
              <p:cNvSpPr>
                <a:spLocks/>
              </p:cNvSpPr>
              <p:nvPr userDrawn="1"/>
            </p:nvSpPr>
            <p:spPr bwMode="auto">
              <a:xfrm>
                <a:off x="1160463" y="4279900"/>
                <a:ext cx="322263" cy="333375"/>
              </a:xfrm>
              <a:custGeom>
                <a:avLst/>
                <a:gdLst/>
                <a:ahLst/>
                <a:cxnLst>
                  <a:cxn ang="0">
                    <a:pos x="132" y="21"/>
                  </a:cxn>
                  <a:cxn ang="0">
                    <a:pos x="79" y="0"/>
                  </a:cxn>
                  <a:cxn ang="0">
                    <a:pos x="0" y="78"/>
                  </a:cxn>
                  <a:cxn ang="0">
                    <a:pos x="26" y="136"/>
                  </a:cxn>
                </a:cxnLst>
                <a:rect l="0" t="0" r="r" b="b"/>
                <a:pathLst>
                  <a:path w="132" h="136">
                    <a:moveTo>
                      <a:pt x="132" y="21"/>
                    </a:moveTo>
                    <a:cubicBezTo>
                      <a:pt x="118" y="8"/>
                      <a:pt x="99" y="0"/>
                      <a:pt x="79" y="0"/>
                    </a:cubicBezTo>
                    <a:cubicBezTo>
                      <a:pt x="35" y="0"/>
                      <a:pt x="0" y="35"/>
                      <a:pt x="0" y="78"/>
                    </a:cubicBezTo>
                    <a:cubicBezTo>
                      <a:pt x="0" y="101"/>
                      <a:pt x="10" y="122"/>
                      <a:pt x="26" y="136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1" name="Freeform 19"/>
              <p:cNvSpPr>
                <a:spLocks/>
              </p:cNvSpPr>
              <p:nvPr userDrawn="1"/>
            </p:nvSpPr>
            <p:spPr bwMode="auto">
              <a:xfrm>
                <a:off x="1484313" y="4418013"/>
                <a:ext cx="58738" cy="192088"/>
              </a:xfrm>
              <a:custGeom>
                <a:avLst/>
                <a:gdLst/>
                <a:ahLst/>
                <a:cxnLst>
                  <a:cxn ang="0">
                    <a:pos x="0" y="79"/>
                  </a:cxn>
                  <a:cxn ang="0">
                    <a:pos x="24" y="22"/>
                  </a:cxn>
                  <a:cxn ang="0">
                    <a:pos x="21" y="0"/>
                  </a:cxn>
                </a:cxnLst>
                <a:rect l="0" t="0" r="r" b="b"/>
                <a:pathLst>
                  <a:path w="24" h="79">
                    <a:moveTo>
                      <a:pt x="0" y="79"/>
                    </a:moveTo>
                    <a:cubicBezTo>
                      <a:pt x="15" y="65"/>
                      <a:pt x="24" y="45"/>
                      <a:pt x="24" y="22"/>
                    </a:cubicBezTo>
                    <a:cubicBezTo>
                      <a:pt x="24" y="15"/>
                      <a:pt x="23" y="7"/>
                      <a:pt x="21" y="0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2" name="Freeform 20"/>
              <p:cNvSpPr>
                <a:spLocks/>
              </p:cNvSpPr>
              <p:nvPr userDrawn="1"/>
            </p:nvSpPr>
            <p:spPr bwMode="auto">
              <a:xfrm>
                <a:off x="1441450" y="4332288"/>
                <a:ext cx="123825" cy="1143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32"/>
                  </a:cxn>
                  <a:cxn ang="0">
                    <a:pos x="0" y="32"/>
                  </a:cxn>
                  <a:cxn ang="0">
                    <a:pos x="38" y="72"/>
                  </a:cxn>
                  <a:cxn ang="0">
                    <a:pos x="78" y="32"/>
                  </a:cxn>
                  <a:cxn ang="0">
                    <a:pos x="54" y="32"/>
                  </a:cxn>
                  <a:cxn ang="0">
                    <a:pos x="54" y="0"/>
                  </a:cxn>
                </a:cxnLst>
                <a:rect l="0" t="0" r="r" b="b"/>
                <a:pathLst>
                  <a:path w="78" h="72">
                    <a:moveTo>
                      <a:pt x="26" y="0"/>
                    </a:moveTo>
                    <a:lnTo>
                      <a:pt x="26" y="32"/>
                    </a:lnTo>
                    <a:lnTo>
                      <a:pt x="0" y="32"/>
                    </a:lnTo>
                    <a:lnTo>
                      <a:pt x="38" y="72"/>
                    </a:lnTo>
                    <a:lnTo>
                      <a:pt x="78" y="32"/>
                    </a:lnTo>
                    <a:lnTo>
                      <a:pt x="54" y="32"/>
                    </a:lnTo>
                    <a:lnTo>
                      <a:pt x="54" y="0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3" name="Freeform 21"/>
              <p:cNvSpPr>
                <a:spLocks/>
              </p:cNvSpPr>
              <p:nvPr userDrawn="1"/>
            </p:nvSpPr>
            <p:spPr bwMode="auto">
              <a:xfrm>
                <a:off x="1141413" y="4613275"/>
                <a:ext cx="431800" cy="53975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0" y="22"/>
                  </a:cxn>
                  <a:cxn ang="0">
                    <a:pos x="22" y="0"/>
                  </a:cxn>
                  <a:cxn ang="0">
                    <a:pos x="155" y="0"/>
                  </a:cxn>
                  <a:cxn ang="0">
                    <a:pos x="177" y="22"/>
                  </a:cxn>
                </a:cxnLst>
                <a:rect l="0" t="0" r="r" b="b"/>
                <a:pathLst>
                  <a:path w="177" h="22">
                    <a:moveTo>
                      <a:pt x="0" y="22"/>
                    </a:move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67" y="0"/>
                      <a:pt x="177" y="10"/>
                      <a:pt x="177" y="22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4" name="Freeform 22"/>
              <p:cNvSpPr>
                <a:spLocks/>
              </p:cNvSpPr>
              <p:nvPr userDrawn="1"/>
            </p:nvSpPr>
            <p:spPr bwMode="auto">
              <a:xfrm>
                <a:off x="1270000" y="4327525"/>
                <a:ext cx="141288" cy="249238"/>
              </a:xfrm>
              <a:custGeom>
                <a:avLst/>
                <a:gdLst/>
                <a:ahLst/>
                <a:cxnLst>
                  <a:cxn ang="0">
                    <a:pos x="24" y="59"/>
                  </a:cxn>
                  <a:cxn ang="0">
                    <a:pos x="35" y="67"/>
                  </a:cxn>
                  <a:cxn ang="0">
                    <a:pos x="26" y="73"/>
                  </a:cxn>
                  <a:cxn ang="0">
                    <a:pos x="8" y="69"/>
                  </a:cxn>
                  <a:cxn ang="0">
                    <a:pos x="7" y="68"/>
                  </a:cxn>
                  <a:cxn ang="0">
                    <a:pos x="4" y="71"/>
                  </a:cxn>
                  <a:cxn ang="0">
                    <a:pos x="1" y="83"/>
                  </a:cxn>
                  <a:cxn ang="0">
                    <a:pos x="3" y="86"/>
                  </a:cxn>
                  <a:cxn ang="0">
                    <a:pos x="21" y="91"/>
                  </a:cxn>
                  <a:cxn ang="0">
                    <a:pos x="21" y="99"/>
                  </a:cxn>
                  <a:cxn ang="0">
                    <a:pos x="24" y="102"/>
                  </a:cxn>
                  <a:cxn ang="0">
                    <a:pos x="34" y="102"/>
                  </a:cxn>
                  <a:cxn ang="0">
                    <a:pos x="37" y="99"/>
                  </a:cxn>
                  <a:cxn ang="0">
                    <a:pos x="37" y="89"/>
                  </a:cxn>
                  <a:cxn ang="0">
                    <a:pos x="58" y="65"/>
                  </a:cxn>
                  <a:cxn ang="0">
                    <a:pos x="36" y="41"/>
                  </a:cxn>
                  <a:cxn ang="0">
                    <a:pos x="23" y="33"/>
                  </a:cxn>
                  <a:cxn ang="0">
                    <a:pos x="31" y="28"/>
                  </a:cxn>
                  <a:cxn ang="0">
                    <a:pos x="46" y="31"/>
                  </a:cxn>
                  <a:cxn ang="0">
                    <a:pos x="47" y="32"/>
                  </a:cxn>
                  <a:cxn ang="0">
                    <a:pos x="50" y="29"/>
                  </a:cxn>
                  <a:cxn ang="0">
                    <a:pos x="53" y="18"/>
                  </a:cxn>
                  <a:cxn ang="0">
                    <a:pos x="51" y="14"/>
                  </a:cxn>
                  <a:cxn ang="0">
                    <a:pos x="36" y="11"/>
                  </a:cxn>
                  <a:cxn ang="0">
                    <a:pos x="36" y="3"/>
                  </a:cxn>
                  <a:cxn ang="0">
                    <a:pos x="32" y="0"/>
                  </a:cxn>
                  <a:cxn ang="0">
                    <a:pos x="23" y="0"/>
                  </a:cxn>
                  <a:cxn ang="0">
                    <a:pos x="20" y="4"/>
                  </a:cxn>
                  <a:cxn ang="0">
                    <a:pos x="20" y="12"/>
                  </a:cxn>
                  <a:cxn ang="0">
                    <a:pos x="0" y="36"/>
                  </a:cxn>
                  <a:cxn ang="0">
                    <a:pos x="24" y="59"/>
                  </a:cxn>
                </a:cxnLst>
                <a:rect l="0" t="0" r="r" b="b"/>
                <a:pathLst>
                  <a:path w="58" h="102">
                    <a:moveTo>
                      <a:pt x="24" y="59"/>
                    </a:moveTo>
                    <a:cubicBezTo>
                      <a:pt x="33" y="62"/>
                      <a:pt x="35" y="64"/>
                      <a:pt x="35" y="67"/>
                    </a:cubicBezTo>
                    <a:cubicBezTo>
                      <a:pt x="35" y="71"/>
                      <a:pt x="30" y="73"/>
                      <a:pt x="26" y="73"/>
                    </a:cubicBezTo>
                    <a:cubicBezTo>
                      <a:pt x="18" y="73"/>
                      <a:pt x="12" y="70"/>
                      <a:pt x="8" y="69"/>
                    </a:cubicBezTo>
                    <a:cubicBezTo>
                      <a:pt x="8" y="68"/>
                      <a:pt x="7" y="68"/>
                      <a:pt x="7" y="68"/>
                    </a:cubicBezTo>
                    <a:cubicBezTo>
                      <a:pt x="5" y="68"/>
                      <a:pt x="4" y="69"/>
                      <a:pt x="4" y="71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4"/>
                      <a:pt x="1" y="86"/>
                      <a:pt x="3" y="86"/>
                    </a:cubicBezTo>
                    <a:cubicBezTo>
                      <a:pt x="8" y="89"/>
                      <a:pt x="15" y="90"/>
                      <a:pt x="21" y="91"/>
                    </a:cubicBezTo>
                    <a:cubicBezTo>
                      <a:pt x="21" y="99"/>
                      <a:pt x="21" y="99"/>
                      <a:pt x="21" y="99"/>
                    </a:cubicBezTo>
                    <a:cubicBezTo>
                      <a:pt x="21" y="101"/>
                      <a:pt x="23" y="102"/>
                      <a:pt x="2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6" y="102"/>
                      <a:pt x="37" y="100"/>
                      <a:pt x="37" y="99"/>
                    </a:cubicBezTo>
                    <a:cubicBezTo>
                      <a:pt x="37" y="89"/>
                      <a:pt x="37" y="89"/>
                      <a:pt x="37" y="89"/>
                    </a:cubicBezTo>
                    <a:cubicBezTo>
                      <a:pt x="50" y="86"/>
                      <a:pt x="58" y="77"/>
                      <a:pt x="58" y="65"/>
                    </a:cubicBezTo>
                    <a:cubicBezTo>
                      <a:pt x="57" y="53"/>
                      <a:pt x="51" y="46"/>
                      <a:pt x="36" y="41"/>
                    </a:cubicBezTo>
                    <a:cubicBezTo>
                      <a:pt x="26" y="38"/>
                      <a:pt x="23" y="36"/>
                      <a:pt x="23" y="33"/>
                    </a:cubicBezTo>
                    <a:cubicBezTo>
                      <a:pt x="23" y="29"/>
                      <a:pt x="28" y="28"/>
                      <a:pt x="31" y="28"/>
                    </a:cubicBezTo>
                    <a:cubicBezTo>
                      <a:pt x="38" y="28"/>
                      <a:pt x="43" y="30"/>
                      <a:pt x="46" y="3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32"/>
                      <a:pt x="50" y="31"/>
                      <a:pt x="50" y="29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6"/>
                      <a:pt x="53" y="14"/>
                      <a:pt x="51" y="14"/>
                    </a:cubicBezTo>
                    <a:cubicBezTo>
                      <a:pt x="46" y="12"/>
                      <a:pt x="41" y="11"/>
                      <a:pt x="36" y="11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6" y="1"/>
                      <a:pt x="34" y="0"/>
                      <a:pt x="32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1" y="0"/>
                      <a:pt x="20" y="2"/>
                      <a:pt x="20" y="4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7" y="15"/>
                      <a:pt x="0" y="24"/>
                      <a:pt x="0" y="36"/>
                    </a:cubicBezTo>
                    <a:cubicBezTo>
                      <a:pt x="1" y="50"/>
                      <a:pt x="13" y="56"/>
                      <a:pt x="24" y="59"/>
                    </a:cubicBezTo>
                    <a:close/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5" name="Oval 23"/>
              <p:cNvSpPr>
                <a:spLocks noChangeArrowheads="1"/>
              </p:cNvSpPr>
              <p:nvPr userDrawn="1"/>
            </p:nvSpPr>
            <p:spPr bwMode="auto">
              <a:xfrm>
                <a:off x="1887538" y="4314825"/>
                <a:ext cx="49213" cy="55563"/>
              </a:xfrm>
              <a:prstGeom prst="ellips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6" name="Freeform 24"/>
              <p:cNvSpPr>
                <a:spLocks/>
              </p:cNvSpPr>
              <p:nvPr userDrawn="1"/>
            </p:nvSpPr>
            <p:spPr bwMode="auto">
              <a:xfrm>
                <a:off x="1985963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7" name="Freeform 25"/>
              <p:cNvSpPr>
                <a:spLocks/>
              </p:cNvSpPr>
              <p:nvPr userDrawn="1"/>
            </p:nvSpPr>
            <p:spPr bwMode="auto">
              <a:xfrm>
                <a:off x="1895475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8" name="Freeform 26"/>
              <p:cNvSpPr>
                <a:spLocks/>
              </p:cNvSpPr>
              <p:nvPr userDrawn="1"/>
            </p:nvSpPr>
            <p:spPr bwMode="auto">
              <a:xfrm>
                <a:off x="1809750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9" name="Freeform 27"/>
              <p:cNvSpPr>
                <a:spLocks/>
              </p:cNvSpPr>
              <p:nvPr userDrawn="1"/>
            </p:nvSpPr>
            <p:spPr bwMode="auto">
              <a:xfrm>
                <a:off x="1741488" y="4260850"/>
                <a:ext cx="357188" cy="330200"/>
              </a:xfrm>
              <a:custGeom>
                <a:avLst/>
                <a:gdLst/>
                <a:ahLst/>
                <a:cxnLst>
                  <a:cxn ang="0">
                    <a:pos x="14" y="134"/>
                  </a:cxn>
                  <a:cxn ang="0">
                    <a:pos x="14" y="62"/>
                  </a:cxn>
                  <a:cxn ang="0">
                    <a:pos x="10" y="60"/>
                  </a:cxn>
                  <a:cxn ang="0">
                    <a:pos x="0" y="60"/>
                  </a:cxn>
                  <a:cxn ang="0">
                    <a:pos x="0" y="50"/>
                  </a:cxn>
                  <a:cxn ang="0">
                    <a:pos x="67" y="4"/>
                  </a:cxn>
                  <a:cxn ang="0">
                    <a:pos x="75" y="4"/>
                  </a:cxn>
                  <a:cxn ang="0">
                    <a:pos x="145" y="47"/>
                  </a:cxn>
                  <a:cxn ang="0">
                    <a:pos x="145" y="57"/>
                  </a:cxn>
                  <a:cxn ang="0">
                    <a:pos x="141" y="61"/>
                  </a:cxn>
                  <a:cxn ang="0">
                    <a:pos x="136" y="61"/>
                  </a:cxn>
                  <a:cxn ang="0">
                    <a:pos x="136" y="135"/>
                  </a:cxn>
                </a:cxnLst>
                <a:rect l="0" t="0" r="r" b="b"/>
                <a:pathLst>
                  <a:path w="146" h="135">
                    <a:moveTo>
                      <a:pt x="14" y="134"/>
                    </a:move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2"/>
                      <a:pt x="15" y="60"/>
                      <a:pt x="1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51" y="16"/>
                      <a:pt x="67" y="4"/>
                    </a:cubicBezTo>
                    <a:cubicBezTo>
                      <a:pt x="69" y="3"/>
                      <a:pt x="71" y="0"/>
                      <a:pt x="75" y="4"/>
                    </a:cubicBezTo>
                    <a:cubicBezTo>
                      <a:pt x="80" y="7"/>
                      <a:pt x="145" y="47"/>
                      <a:pt x="145" y="47"/>
                    </a:cubicBezTo>
                    <a:cubicBezTo>
                      <a:pt x="145" y="57"/>
                      <a:pt x="145" y="57"/>
                      <a:pt x="145" y="57"/>
                    </a:cubicBezTo>
                    <a:cubicBezTo>
                      <a:pt x="145" y="57"/>
                      <a:pt x="146" y="61"/>
                      <a:pt x="141" y="61"/>
                    </a:cubicBezTo>
                    <a:cubicBezTo>
                      <a:pt x="136" y="61"/>
                      <a:pt x="136" y="61"/>
                      <a:pt x="136" y="61"/>
                    </a:cubicBezTo>
                    <a:cubicBezTo>
                      <a:pt x="136" y="135"/>
                      <a:pt x="136" y="135"/>
                      <a:pt x="136" y="135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0" name="Freeform 28"/>
              <p:cNvSpPr>
                <a:spLocks/>
              </p:cNvSpPr>
              <p:nvPr userDrawn="1"/>
            </p:nvSpPr>
            <p:spPr bwMode="auto">
              <a:xfrm>
                <a:off x="1717675" y="4592638"/>
                <a:ext cx="41275" cy="68263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3" y="28"/>
                  </a:cxn>
                </a:cxnLst>
                <a:rect l="0" t="0" r="r" b="b"/>
                <a:pathLst>
                  <a:path w="17" h="28">
                    <a:moveTo>
                      <a:pt x="17" y="0"/>
                    </a:moveTo>
                    <a:cubicBezTo>
                      <a:pt x="0" y="10"/>
                      <a:pt x="3" y="28"/>
                      <a:pt x="3" y="28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1" name="Freeform 30"/>
              <p:cNvSpPr>
                <a:spLocks/>
              </p:cNvSpPr>
              <p:nvPr userDrawn="1"/>
            </p:nvSpPr>
            <p:spPr bwMode="auto">
              <a:xfrm>
                <a:off x="2090738" y="4595813"/>
                <a:ext cx="44450" cy="682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8"/>
                  </a:cxn>
                </a:cxnLst>
                <a:rect l="0" t="0" r="r" b="b"/>
                <a:pathLst>
                  <a:path w="18" h="28">
                    <a:moveTo>
                      <a:pt x="0" y="0"/>
                    </a:moveTo>
                    <a:cubicBezTo>
                      <a:pt x="18" y="10"/>
                      <a:pt x="14" y="28"/>
                      <a:pt x="14" y="28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35626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03 Agenda_Banking -3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16573"/>
            <a:ext cx="12192000" cy="5476647"/>
          </a:xfrm>
          <a:prstGeom prst="rect">
            <a:avLst/>
          </a:prstGeom>
        </p:spPr>
      </p:pic>
      <p:sp>
        <p:nvSpPr>
          <p:cNvPr id="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3" y="-25"/>
            <a:ext cx="12191999" cy="1404548"/>
          </a:xfrm>
          <a:custGeom>
            <a:avLst/>
            <a:gdLst>
              <a:gd name="connsiteX0" fmla="*/ 10122 w 10613"/>
              <a:gd name="connsiteY0" fmla="*/ 4537 h 10000"/>
              <a:gd name="connsiteX1" fmla="*/ 1585 w 10613"/>
              <a:gd name="connsiteY1" fmla="*/ 4537 h 10000"/>
              <a:gd name="connsiteX2" fmla="*/ 613 w 10613"/>
              <a:gd name="connsiteY2" fmla="*/ 4537 h 10000"/>
              <a:gd name="connsiteX3" fmla="*/ 613 w 10613"/>
              <a:gd name="connsiteY3" fmla="*/ 5463 h 10000"/>
              <a:gd name="connsiteX4" fmla="*/ 1097 w 10613"/>
              <a:gd name="connsiteY4" fmla="*/ 10000 h 10000"/>
              <a:gd name="connsiteX5" fmla="*/ 1585 w 10613"/>
              <a:gd name="connsiteY5" fmla="*/ 5463 h 10000"/>
              <a:gd name="connsiteX6" fmla="*/ 10122 w 10613"/>
              <a:gd name="connsiteY6" fmla="*/ 5463 h 10000"/>
              <a:gd name="connsiteX7" fmla="*/ 10613 w 10613"/>
              <a:gd name="connsiteY7" fmla="*/ 927 h 10000"/>
              <a:gd name="connsiteX8" fmla="*/ 10613 w 10613"/>
              <a:gd name="connsiteY8" fmla="*/ 0 h 10000"/>
              <a:gd name="connsiteX9" fmla="*/ 10122 w 10613"/>
              <a:gd name="connsiteY9" fmla="*/ 4537 h 10000"/>
              <a:gd name="connsiteX0" fmla="*/ 10122 w 10613"/>
              <a:gd name="connsiteY0" fmla="*/ 13981 h 19444"/>
              <a:gd name="connsiteX1" fmla="*/ 1585 w 10613"/>
              <a:gd name="connsiteY1" fmla="*/ 13981 h 19444"/>
              <a:gd name="connsiteX2" fmla="*/ 613 w 10613"/>
              <a:gd name="connsiteY2" fmla="*/ 154 h 19444"/>
              <a:gd name="connsiteX3" fmla="*/ 613 w 10613"/>
              <a:gd name="connsiteY3" fmla="*/ 14907 h 19444"/>
              <a:gd name="connsiteX4" fmla="*/ 1097 w 10613"/>
              <a:gd name="connsiteY4" fmla="*/ 19444 h 19444"/>
              <a:gd name="connsiteX5" fmla="*/ 1585 w 10613"/>
              <a:gd name="connsiteY5" fmla="*/ 14907 h 19444"/>
              <a:gd name="connsiteX6" fmla="*/ 10122 w 10613"/>
              <a:gd name="connsiteY6" fmla="*/ 14907 h 19444"/>
              <a:gd name="connsiteX7" fmla="*/ 10613 w 10613"/>
              <a:gd name="connsiteY7" fmla="*/ 10371 h 19444"/>
              <a:gd name="connsiteX8" fmla="*/ 10613 w 10613"/>
              <a:gd name="connsiteY8" fmla="*/ 9444 h 19444"/>
              <a:gd name="connsiteX9" fmla="*/ 10122 w 10613"/>
              <a:gd name="connsiteY9" fmla="*/ 13981 h 19444"/>
              <a:gd name="connsiteX0" fmla="*/ 9509 w 10000"/>
              <a:gd name="connsiteY0" fmla="*/ 13827 h 19290"/>
              <a:gd name="connsiteX1" fmla="*/ 972 w 10000"/>
              <a:gd name="connsiteY1" fmla="*/ 13827 h 19290"/>
              <a:gd name="connsiteX2" fmla="*/ 0 w 10000"/>
              <a:gd name="connsiteY2" fmla="*/ 0 h 19290"/>
              <a:gd name="connsiteX3" fmla="*/ 0 w 10000"/>
              <a:gd name="connsiteY3" fmla="*/ 14753 h 19290"/>
              <a:gd name="connsiteX4" fmla="*/ 484 w 10000"/>
              <a:gd name="connsiteY4" fmla="*/ 19290 h 19290"/>
              <a:gd name="connsiteX5" fmla="*/ 972 w 10000"/>
              <a:gd name="connsiteY5" fmla="*/ 14753 h 19290"/>
              <a:gd name="connsiteX6" fmla="*/ 9509 w 10000"/>
              <a:gd name="connsiteY6" fmla="*/ 14753 h 19290"/>
              <a:gd name="connsiteX7" fmla="*/ 10000 w 10000"/>
              <a:gd name="connsiteY7" fmla="*/ 10217 h 19290"/>
              <a:gd name="connsiteX8" fmla="*/ 10000 w 10000"/>
              <a:gd name="connsiteY8" fmla="*/ 9290 h 19290"/>
              <a:gd name="connsiteX9" fmla="*/ 9509 w 10000"/>
              <a:gd name="connsiteY9" fmla="*/ 13827 h 19290"/>
              <a:gd name="connsiteX0" fmla="*/ 9509 w 10000"/>
              <a:gd name="connsiteY0" fmla="*/ 13827 h 19290"/>
              <a:gd name="connsiteX1" fmla="*/ 930 w 10000"/>
              <a:gd name="connsiteY1" fmla="*/ 0 h 19290"/>
              <a:gd name="connsiteX2" fmla="*/ 0 w 10000"/>
              <a:gd name="connsiteY2" fmla="*/ 0 h 19290"/>
              <a:gd name="connsiteX3" fmla="*/ 0 w 10000"/>
              <a:gd name="connsiteY3" fmla="*/ 14753 h 19290"/>
              <a:gd name="connsiteX4" fmla="*/ 484 w 10000"/>
              <a:gd name="connsiteY4" fmla="*/ 19290 h 19290"/>
              <a:gd name="connsiteX5" fmla="*/ 972 w 10000"/>
              <a:gd name="connsiteY5" fmla="*/ 14753 h 19290"/>
              <a:gd name="connsiteX6" fmla="*/ 9509 w 10000"/>
              <a:gd name="connsiteY6" fmla="*/ 14753 h 19290"/>
              <a:gd name="connsiteX7" fmla="*/ 10000 w 10000"/>
              <a:gd name="connsiteY7" fmla="*/ 10217 h 19290"/>
              <a:gd name="connsiteX8" fmla="*/ 10000 w 10000"/>
              <a:gd name="connsiteY8" fmla="*/ 9290 h 19290"/>
              <a:gd name="connsiteX9" fmla="*/ 9509 w 10000"/>
              <a:gd name="connsiteY9" fmla="*/ 13827 h 19290"/>
              <a:gd name="connsiteX0" fmla="*/ 9509 w 10000"/>
              <a:gd name="connsiteY0" fmla="*/ 13827 h 19290"/>
              <a:gd name="connsiteX1" fmla="*/ 0 w 10000"/>
              <a:gd name="connsiteY1" fmla="*/ 0 h 19290"/>
              <a:gd name="connsiteX2" fmla="*/ 0 w 10000"/>
              <a:gd name="connsiteY2" fmla="*/ 14753 h 19290"/>
              <a:gd name="connsiteX3" fmla="*/ 484 w 10000"/>
              <a:gd name="connsiteY3" fmla="*/ 19290 h 19290"/>
              <a:gd name="connsiteX4" fmla="*/ 972 w 10000"/>
              <a:gd name="connsiteY4" fmla="*/ 14753 h 19290"/>
              <a:gd name="connsiteX5" fmla="*/ 9509 w 10000"/>
              <a:gd name="connsiteY5" fmla="*/ 14753 h 19290"/>
              <a:gd name="connsiteX6" fmla="*/ 10000 w 10000"/>
              <a:gd name="connsiteY6" fmla="*/ 10217 h 19290"/>
              <a:gd name="connsiteX7" fmla="*/ 10000 w 10000"/>
              <a:gd name="connsiteY7" fmla="*/ 9290 h 19290"/>
              <a:gd name="connsiteX8" fmla="*/ 9509 w 10000"/>
              <a:gd name="connsiteY8" fmla="*/ 13827 h 19290"/>
              <a:gd name="connsiteX0" fmla="*/ 10000 w 10000"/>
              <a:gd name="connsiteY0" fmla="*/ 10201 h 20201"/>
              <a:gd name="connsiteX1" fmla="*/ 0 w 10000"/>
              <a:gd name="connsiteY1" fmla="*/ 911 h 20201"/>
              <a:gd name="connsiteX2" fmla="*/ 0 w 10000"/>
              <a:gd name="connsiteY2" fmla="*/ 15664 h 20201"/>
              <a:gd name="connsiteX3" fmla="*/ 484 w 10000"/>
              <a:gd name="connsiteY3" fmla="*/ 20201 h 20201"/>
              <a:gd name="connsiteX4" fmla="*/ 972 w 10000"/>
              <a:gd name="connsiteY4" fmla="*/ 15664 h 20201"/>
              <a:gd name="connsiteX5" fmla="*/ 9509 w 10000"/>
              <a:gd name="connsiteY5" fmla="*/ 15664 h 20201"/>
              <a:gd name="connsiteX6" fmla="*/ 10000 w 10000"/>
              <a:gd name="connsiteY6" fmla="*/ 11128 h 20201"/>
              <a:gd name="connsiteX7" fmla="*/ 10000 w 10000"/>
              <a:gd name="connsiteY7" fmla="*/ 10201 h 20201"/>
              <a:gd name="connsiteX0" fmla="*/ 10000 w 10000"/>
              <a:gd name="connsiteY0" fmla="*/ 1703 h 20993"/>
              <a:gd name="connsiteX1" fmla="*/ 0 w 10000"/>
              <a:gd name="connsiteY1" fmla="*/ 1703 h 20993"/>
              <a:gd name="connsiteX2" fmla="*/ 0 w 10000"/>
              <a:gd name="connsiteY2" fmla="*/ 16456 h 20993"/>
              <a:gd name="connsiteX3" fmla="*/ 484 w 10000"/>
              <a:gd name="connsiteY3" fmla="*/ 20993 h 20993"/>
              <a:gd name="connsiteX4" fmla="*/ 972 w 10000"/>
              <a:gd name="connsiteY4" fmla="*/ 16456 h 20993"/>
              <a:gd name="connsiteX5" fmla="*/ 9509 w 10000"/>
              <a:gd name="connsiteY5" fmla="*/ 16456 h 20993"/>
              <a:gd name="connsiteX6" fmla="*/ 10000 w 10000"/>
              <a:gd name="connsiteY6" fmla="*/ 11920 h 20993"/>
              <a:gd name="connsiteX7" fmla="*/ 10000 w 10000"/>
              <a:gd name="connsiteY7" fmla="*/ 1703 h 20993"/>
              <a:gd name="connsiteX0" fmla="*/ 10000 w 10000"/>
              <a:gd name="connsiteY0" fmla="*/ 0 h 19290"/>
              <a:gd name="connsiteX1" fmla="*/ 0 w 10000"/>
              <a:gd name="connsiteY1" fmla="*/ 0 h 19290"/>
              <a:gd name="connsiteX2" fmla="*/ 0 w 10000"/>
              <a:gd name="connsiteY2" fmla="*/ 14753 h 19290"/>
              <a:gd name="connsiteX3" fmla="*/ 484 w 10000"/>
              <a:gd name="connsiteY3" fmla="*/ 19290 h 19290"/>
              <a:gd name="connsiteX4" fmla="*/ 972 w 10000"/>
              <a:gd name="connsiteY4" fmla="*/ 14753 h 19290"/>
              <a:gd name="connsiteX5" fmla="*/ 9509 w 10000"/>
              <a:gd name="connsiteY5" fmla="*/ 14753 h 19290"/>
              <a:gd name="connsiteX6" fmla="*/ 10000 w 10000"/>
              <a:gd name="connsiteY6" fmla="*/ 10217 h 19290"/>
              <a:gd name="connsiteX7" fmla="*/ 10000 w 10000"/>
              <a:gd name="connsiteY7" fmla="*/ 0 h 19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19290">
                <a:moveTo>
                  <a:pt x="10000" y="0"/>
                </a:moveTo>
                <a:lnTo>
                  <a:pt x="0" y="0"/>
                </a:lnTo>
                <a:lnTo>
                  <a:pt x="0" y="14753"/>
                </a:lnTo>
                <a:cubicBezTo>
                  <a:pt x="382" y="14753"/>
                  <a:pt x="484" y="19290"/>
                  <a:pt x="484" y="19290"/>
                </a:cubicBezTo>
                <a:cubicBezTo>
                  <a:pt x="484" y="19290"/>
                  <a:pt x="587" y="14753"/>
                  <a:pt x="972" y="14753"/>
                </a:cubicBezTo>
                <a:lnTo>
                  <a:pt x="9509" y="14753"/>
                </a:lnTo>
                <a:cubicBezTo>
                  <a:pt x="9894" y="14753"/>
                  <a:pt x="10000" y="10217"/>
                  <a:pt x="10000" y="10217"/>
                </a:cubicBezTo>
                <a:lnTo>
                  <a:pt x="1000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3131" tIns="56565" rIns="113131" bIns="56565" numCol="1" anchor="t" anchorCtr="0" compatLnSpc="1">
            <a:prstTxWarp prst="textNoShape">
              <a:avLst/>
            </a:prstTxWarp>
          </a:bodyPr>
          <a:lstStyle/>
          <a:p>
            <a:pPr defTabSz="1088239"/>
            <a:endParaRPr lang="fr-FR" sz="2133" dirty="0">
              <a:solidFill>
                <a:srgbClr val="B701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19101" y="1496484"/>
            <a:ext cx="8752417" cy="3596216"/>
          </a:xfrm>
        </p:spPr>
        <p:txBody>
          <a:bodyPr lIns="91440"/>
          <a:lstStyle>
            <a:lvl1pPr>
              <a:buClr>
                <a:schemeClr val="bg1"/>
              </a:buClr>
              <a:defRPr sz="2133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67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67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12700" y="5681134"/>
            <a:ext cx="12179301" cy="584201"/>
            <a:chOff x="9525" y="4260850"/>
            <a:chExt cx="9134476" cy="438151"/>
          </a:xfrm>
        </p:grpSpPr>
        <p:sp>
          <p:nvSpPr>
            <p:cNvPr id="9" name="Line 15"/>
            <p:cNvSpPr>
              <a:spLocks noChangeShapeType="1"/>
            </p:cNvSpPr>
            <p:nvPr userDrawn="1"/>
          </p:nvSpPr>
          <p:spPr bwMode="auto">
            <a:xfrm flipH="1">
              <a:off x="9525" y="4668838"/>
              <a:ext cx="415290" cy="0"/>
            </a:xfrm>
            <a:prstGeom prst="line">
              <a:avLst/>
            </a:prstGeom>
            <a:noFill/>
            <a:ln w="11113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88239"/>
              <a:endParaRPr lang="en-US" sz="2133" dirty="0">
                <a:solidFill>
                  <a:srgbClr val="00234B"/>
                </a:solidFill>
              </a:endParaRPr>
            </a:p>
          </p:txBody>
        </p:sp>
        <p:sp>
          <p:nvSpPr>
            <p:cNvPr id="10" name="Line 29"/>
            <p:cNvSpPr>
              <a:spLocks noChangeShapeType="1"/>
            </p:cNvSpPr>
            <p:nvPr userDrawn="1"/>
          </p:nvSpPr>
          <p:spPr bwMode="auto">
            <a:xfrm>
              <a:off x="2042161" y="4668838"/>
              <a:ext cx="7101840" cy="0"/>
            </a:xfrm>
            <a:prstGeom prst="line">
              <a:avLst/>
            </a:prstGeom>
            <a:noFill/>
            <a:ln w="11113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88239"/>
              <a:endParaRPr lang="en-US" sz="2133" dirty="0">
                <a:solidFill>
                  <a:srgbClr val="00234B"/>
                </a:solidFill>
              </a:endParaRPr>
            </a:p>
          </p:txBody>
        </p:sp>
        <p:grpSp>
          <p:nvGrpSpPr>
            <p:cNvPr id="11" name="Group 36"/>
            <p:cNvGrpSpPr/>
            <p:nvPr userDrawn="1"/>
          </p:nvGrpSpPr>
          <p:grpSpPr>
            <a:xfrm>
              <a:off x="428625" y="4260850"/>
              <a:ext cx="1624013" cy="438151"/>
              <a:chOff x="511175" y="4260850"/>
              <a:chExt cx="1624013" cy="438151"/>
            </a:xfrm>
          </p:grpSpPr>
          <p:sp>
            <p:nvSpPr>
              <p:cNvPr id="12" name="Freeform 9"/>
              <p:cNvSpPr>
                <a:spLocks/>
              </p:cNvSpPr>
              <p:nvPr userDrawn="1"/>
            </p:nvSpPr>
            <p:spPr bwMode="auto">
              <a:xfrm>
                <a:off x="511175" y="4422775"/>
                <a:ext cx="476250" cy="109538"/>
              </a:xfrm>
              <a:custGeom>
                <a:avLst/>
                <a:gdLst/>
                <a:ahLst/>
                <a:cxnLst>
                  <a:cxn ang="0">
                    <a:pos x="1" y="45"/>
                  </a:cxn>
                  <a:cxn ang="0">
                    <a:pos x="1" y="8"/>
                  </a:cxn>
                  <a:cxn ang="0">
                    <a:pos x="8" y="0"/>
                  </a:cxn>
                  <a:cxn ang="0">
                    <a:pos x="188" y="0"/>
                  </a:cxn>
                  <a:cxn ang="0">
                    <a:pos x="195" y="8"/>
                  </a:cxn>
                  <a:cxn ang="0">
                    <a:pos x="195" y="23"/>
                  </a:cxn>
                  <a:cxn ang="0">
                    <a:pos x="16" y="23"/>
                  </a:cxn>
                </a:cxnLst>
                <a:rect l="0" t="0" r="r" b="b"/>
                <a:pathLst>
                  <a:path w="195" h="45">
                    <a:moveTo>
                      <a:pt x="1" y="45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93" y="0"/>
                      <a:pt x="195" y="4"/>
                      <a:pt x="195" y="8"/>
                    </a:cubicBezTo>
                    <a:cubicBezTo>
                      <a:pt x="195" y="23"/>
                      <a:pt x="195" y="23"/>
                      <a:pt x="195" y="23"/>
                    </a:cubicBezTo>
                    <a:cubicBezTo>
                      <a:pt x="16" y="23"/>
                      <a:pt x="16" y="23"/>
                      <a:pt x="16" y="23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3" name="Freeform 10"/>
              <p:cNvSpPr>
                <a:spLocks/>
              </p:cNvSpPr>
              <p:nvPr userDrawn="1"/>
            </p:nvSpPr>
            <p:spPr bwMode="auto">
              <a:xfrm>
                <a:off x="511175" y="4532313"/>
                <a:ext cx="476250" cy="166688"/>
              </a:xfrm>
              <a:custGeom>
                <a:avLst/>
                <a:gdLst/>
                <a:ahLst/>
                <a:cxnLst>
                  <a:cxn ang="0">
                    <a:pos x="180" y="0"/>
                  </a:cxn>
                  <a:cxn ang="0">
                    <a:pos x="1" y="0"/>
                  </a:cxn>
                  <a:cxn ang="0">
                    <a:pos x="1" y="60"/>
                  </a:cxn>
                  <a:cxn ang="0">
                    <a:pos x="8" y="68"/>
                  </a:cxn>
                  <a:cxn ang="0">
                    <a:pos x="188" y="68"/>
                  </a:cxn>
                  <a:cxn ang="0">
                    <a:pos x="195" y="60"/>
                  </a:cxn>
                  <a:cxn ang="0">
                    <a:pos x="195" y="0"/>
                  </a:cxn>
                </a:cxnLst>
                <a:rect l="0" t="0" r="r" b="b"/>
                <a:pathLst>
                  <a:path w="195" h="68">
                    <a:moveTo>
                      <a:pt x="18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5"/>
                      <a:pt x="3" y="68"/>
                      <a:pt x="8" y="68"/>
                    </a:cubicBezTo>
                    <a:cubicBezTo>
                      <a:pt x="188" y="68"/>
                      <a:pt x="188" y="68"/>
                      <a:pt x="188" y="68"/>
                    </a:cubicBezTo>
                    <a:cubicBezTo>
                      <a:pt x="192" y="68"/>
                      <a:pt x="195" y="65"/>
                      <a:pt x="195" y="60"/>
                    </a:cubicBezTo>
                    <a:cubicBezTo>
                      <a:pt x="195" y="0"/>
                      <a:pt x="195" y="0"/>
                      <a:pt x="195" y="0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4" name="Rectangle 11"/>
              <p:cNvSpPr>
                <a:spLocks noChangeArrowheads="1"/>
              </p:cNvSpPr>
              <p:nvPr userDrawn="1"/>
            </p:nvSpPr>
            <p:spPr bwMode="auto">
              <a:xfrm>
                <a:off x="860425" y="4618038"/>
                <a:ext cx="92075" cy="41275"/>
              </a:xfrm>
              <a:prstGeom prst="rect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5" name="Line 12"/>
              <p:cNvSpPr>
                <a:spLocks noChangeShapeType="1"/>
              </p:cNvSpPr>
              <p:nvPr userDrawn="1"/>
            </p:nvSpPr>
            <p:spPr bwMode="auto">
              <a:xfrm>
                <a:off x="554038" y="4659313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6" name="Line 13"/>
              <p:cNvSpPr>
                <a:spLocks noChangeShapeType="1"/>
              </p:cNvSpPr>
              <p:nvPr userDrawn="1"/>
            </p:nvSpPr>
            <p:spPr bwMode="auto">
              <a:xfrm>
                <a:off x="554038" y="4637088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7" name="Line 14"/>
              <p:cNvSpPr>
                <a:spLocks noChangeShapeType="1"/>
              </p:cNvSpPr>
              <p:nvPr userDrawn="1"/>
            </p:nvSpPr>
            <p:spPr bwMode="auto">
              <a:xfrm>
                <a:off x="554038" y="4618038"/>
                <a:ext cx="274638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8" name="Line 16"/>
              <p:cNvSpPr>
                <a:spLocks noChangeShapeType="1"/>
              </p:cNvSpPr>
              <p:nvPr userDrawn="1"/>
            </p:nvSpPr>
            <p:spPr bwMode="auto">
              <a:xfrm flipH="1">
                <a:off x="989013" y="4667250"/>
                <a:ext cx="152400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19" name="Line 17"/>
              <p:cNvSpPr>
                <a:spLocks noChangeShapeType="1"/>
              </p:cNvSpPr>
              <p:nvPr userDrawn="1"/>
            </p:nvSpPr>
            <p:spPr bwMode="auto">
              <a:xfrm flipH="1">
                <a:off x="1573213" y="4667250"/>
                <a:ext cx="150813" cy="1588"/>
              </a:xfrm>
              <a:prstGeom prst="lin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0" name="Freeform 18"/>
              <p:cNvSpPr>
                <a:spLocks/>
              </p:cNvSpPr>
              <p:nvPr userDrawn="1"/>
            </p:nvSpPr>
            <p:spPr bwMode="auto">
              <a:xfrm>
                <a:off x="1160463" y="4279900"/>
                <a:ext cx="322263" cy="333375"/>
              </a:xfrm>
              <a:custGeom>
                <a:avLst/>
                <a:gdLst/>
                <a:ahLst/>
                <a:cxnLst>
                  <a:cxn ang="0">
                    <a:pos x="132" y="21"/>
                  </a:cxn>
                  <a:cxn ang="0">
                    <a:pos x="79" y="0"/>
                  </a:cxn>
                  <a:cxn ang="0">
                    <a:pos x="0" y="78"/>
                  </a:cxn>
                  <a:cxn ang="0">
                    <a:pos x="26" y="136"/>
                  </a:cxn>
                </a:cxnLst>
                <a:rect l="0" t="0" r="r" b="b"/>
                <a:pathLst>
                  <a:path w="132" h="136">
                    <a:moveTo>
                      <a:pt x="132" y="21"/>
                    </a:moveTo>
                    <a:cubicBezTo>
                      <a:pt x="118" y="8"/>
                      <a:pt x="99" y="0"/>
                      <a:pt x="79" y="0"/>
                    </a:cubicBezTo>
                    <a:cubicBezTo>
                      <a:pt x="35" y="0"/>
                      <a:pt x="0" y="35"/>
                      <a:pt x="0" y="78"/>
                    </a:cubicBezTo>
                    <a:cubicBezTo>
                      <a:pt x="0" y="101"/>
                      <a:pt x="10" y="122"/>
                      <a:pt x="26" y="136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1" name="Freeform 19"/>
              <p:cNvSpPr>
                <a:spLocks/>
              </p:cNvSpPr>
              <p:nvPr userDrawn="1"/>
            </p:nvSpPr>
            <p:spPr bwMode="auto">
              <a:xfrm>
                <a:off x="1484313" y="4418013"/>
                <a:ext cx="58738" cy="192088"/>
              </a:xfrm>
              <a:custGeom>
                <a:avLst/>
                <a:gdLst/>
                <a:ahLst/>
                <a:cxnLst>
                  <a:cxn ang="0">
                    <a:pos x="0" y="79"/>
                  </a:cxn>
                  <a:cxn ang="0">
                    <a:pos x="24" y="22"/>
                  </a:cxn>
                  <a:cxn ang="0">
                    <a:pos x="21" y="0"/>
                  </a:cxn>
                </a:cxnLst>
                <a:rect l="0" t="0" r="r" b="b"/>
                <a:pathLst>
                  <a:path w="24" h="79">
                    <a:moveTo>
                      <a:pt x="0" y="79"/>
                    </a:moveTo>
                    <a:cubicBezTo>
                      <a:pt x="15" y="65"/>
                      <a:pt x="24" y="45"/>
                      <a:pt x="24" y="22"/>
                    </a:cubicBezTo>
                    <a:cubicBezTo>
                      <a:pt x="24" y="15"/>
                      <a:pt x="23" y="7"/>
                      <a:pt x="21" y="0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2" name="Freeform 20"/>
              <p:cNvSpPr>
                <a:spLocks/>
              </p:cNvSpPr>
              <p:nvPr userDrawn="1"/>
            </p:nvSpPr>
            <p:spPr bwMode="auto">
              <a:xfrm>
                <a:off x="1441450" y="4332288"/>
                <a:ext cx="123825" cy="1143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32"/>
                  </a:cxn>
                  <a:cxn ang="0">
                    <a:pos x="0" y="32"/>
                  </a:cxn>
                  <a:cxn ang="0">
                    <a:pos x="38" y="72"/>
                  </a:cxn>
                  <a:cxn ang="0">
                    <a:pos x="78" y="32"/>
                  </a:cxn>
                  <a:cxn ang="0">
                    <a:pos x="54" y="32"/>
                  </a:cxn>
                  <a:cxn ang="0">
                    <a:pos x="54" y="0"/>
                  </a:cxn>
                </a:cxnLst>
                <a:rect l="0" t="0" r="r" b="b"/>
                <a:pathLst>
                  <a:path w="78" h="72">
                    <a:moveTo>
                      <a:pt x="26" y="0"/>
                    </a:moveTo>
                    <a:lnTo>
                      <a:pt x="26" y="32"/>
                    </a:lnTo>
                    <a:lnTo>
                      <a:pt x="0" y="32"/>
                    </a:lnTo>
                    <a:lnTo>
                      <a:pt x="38" y="72"/>
                    </a:lnTo>
                    <a:lnTo>
                      <a:pt x="78" y="32"/>
                    </a:lnTo>
                    <a:lnTo>
                      <a:pt x="54" y="32"/>
                    </a:lnTo>
                    <a:lnTo>
                      <a:pt x="54" y="0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3" name="Freeform 21"/>
              <p:cNvSpPr>
                <a:spLocks/>
              </p:cNvSpPr>
              <p:nvPr userDrawn="1"/>
            </p:nvSpPr>
            <p:spPr bwMode="auto">
              <a:xfrm>
                <a:off x="1141413" y="4613275"/>
                <a:ext cx="431800" cy="53975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0" y="22"/>
                  </a:cxn>
                  <a:cxn ang="0">
                    <a:pos x="22" y="0"/>
                  </a:cxn>
                  <a:cxn ang="0">
                    <a:pos x="155" y="0"/>
                  </a:cxn>
                  <a:cxn ang="0">
                    <a:pos x="177" y="22"/>
                  </a:cxn>
                </a:cxnLst>
                <a:rect l="0" t="0" r="r" b="b"/>
                <a:pathLst>
                  <a:path w="177" h="22">
                    <a:moveTo>
                      <a:pt x="0" y="22"/>
                    </a:move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67" y="0"/>
                      <a:pt x="177" y="10"/>
                      <a:pt x="177" y="22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4" name="Freeform 22"/>
              <p:cNvSpPr>
                <a:spLocks/>
              </p:cNvSpPr>
              <p:nvPr userDrawn="1"/>
            </p:nvSpPr>
            <p:spPr bwMode="auto">
              <a:xfrm>
                <a:off x="1270000" y="4327525"/>
                <a:ext cx="141288" cy="249238"/>
              </a:xfrm>
              <a:custGeom>
                <a:avLst/>
                <a:gdLst/>
                <a:ahLst/>
                <a:cxnLst>
                  <a:cxn ang="0">
                    <a:pos x="24" y="59"/>
                  </a:cxn>
                  <a:cxn ang="0">
                    <a:pos x="35" y="67"/>
                  </a:cxn>
                  <a:cxn ang="0">
                    <a:pos x="26" y="73"/>
                  </a:cxn>
                  <a:cxn ang="0">
                    <a:pos x="8" y="69"/>
                  </a:cxn>
                  <a:cxn ang="0">
                    <a:pos x="7" y="68"/>
                  </a:cxn>
                  <a:cxn ang="0">
                    <a:pos x="4" y="71"/>
                  </a:cxn>
                  <a:cxn ang="0">
                    <a:pos x="1" y="83"/>
                  </a:cxn>
                  <a:cxn ang="0">
                    <a:pos x="3" y="86"/>
                  </a:cxn>
                  <a:cxn ang="0">
                    <a:pos x="21" y="91"/>
                  </a:cxn>
                  <a:cxn ang="0">
                    <a:pos x="21" y="99"/>
                  </a:cxn>
                  <a:cxn ang="0">
                    <a:pos x="24" y="102"/>
                  </a:cxn>
                  <a:cxn ang="0">
                    <a:pos x="34" y="102"/>
                  </a:cxn>
                  <a:cxn ang="0">
                    <a:pos x="37" y="99"/>
                  </a:cxn>
                  <a:cxn ang="0">
                    <a:pos x="37" y="89"/>
                  </a:cxn>
                  <a:cxn ang="0">
                    <a:pos x="58" y="65"/>
                  </a:cxn>
                  <a:cxn ang="0">
                    <a:pos x="36" y="41"/>
                  </a:cxn>
                  <a:cxn ang="0">
                    <a:pos x="23" y="33"/>
                  </a:cxn>
                  <a:cxn ang="0">
                    <a:pos x="31" y="28"/>
                  </a:cxn>
                  <a:cxn ang="0">
                    <a:pos x="46" y="31"/>
                  </a:cxn>
                  <a:cxn ang="0">
                    <a:pos x="47" y="32"/>
                  </a:cxn>
                  <a:cxn ang="0">
                    <a:pos x="50" y="29"/>
                  </a:cxn>
                  <a:cxn ang="0">
                    <a:pos x="53" y="18"/>
                  </a:cxn>
                  <a:cxn ang="0">
                    <a:pos x="51" y="14"/>
                  </a:cxn>
                  <a:cxn ang="0">
                    <a:pos x="36" y="11"/>
                  </a:cxn>
                  <a:cxn ang="0">
                    <a:pos x="36" y="3"/>
                  </a:cxn>
                  <a:cxn ang="0">
                    <a:pos x="32" y="0"/>
                  </a:cxn>
                  <a:cxn ang="0">
                    <a:pos x="23" y="0"/>
                  </a:cxn>
                  <a:cxn ang="0">
                    <a:pos x="20" y="4"/>
                  </a:cxn>
                  <a:cxn ang="0">
                    <a:pos x="20" y="12"/>
                  </a:cxn>
                  <a:cxn ang="0">
                    <a:pos x="0" y="36"/>
                  </a:cxn>
                  <a:cxn ang="0">
                    <a:pos x="24" y="59"/>
                  </a:cxn>
                </a:cxnLst>
                <a:rect l="0" t="0" r="r" b="b"/>
                <a:pathLst>
                  <a:path w="58" h="102">
                    <a:moveTo>
                      <a:pt x="24" y="59"/>
                    </a:moveTo>
                    <a:cubicBezTo>
                      <a:pt x="33" y="62"/>
                      <a:pt x="35" y="64"/>
                      <a:pt x="35" y="67"/>
                    </a:cubicBezTo>
                    <a:cubicBezTo>
                      <a:pt x="35" y="71"/>
                      <a:pt x="30" y="73"/>
                      <a:pt x="26" y="73"/>
                    </a:cubicBezTo>
                    <a:cubicBezTo>
                      <a:pt x="18" y="73"/>
                      <a:pt x="12" y="70"/>
                      <a:pt x="8" y="69"/>
                    </a:cubicBezTo>
                    <a:cubicBezTo>
                      <a:pt x="8" y="68"/>
                      <a:pt x="7" y="68"/>
                      <a:pt x="7" y="68"/>
                    </a:cubicBezTo>
                    <a:cubicBezTo>
                      <a:pt x="5" y="68"/>
                      <a:pt x="4" y="69"/>
                      <a:pt x="4" y="71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4"/>
                      <a:pt x="1" y="86"/>
                      <a:pt x="3" y="86"/>
                    </a:cubicBezTo>
                    <a:cubicBezTo>
                      <a:pt x="8" y="89"/>
                      <a:pt x="15" y="90"/>
                      <a:pt x="21" y="91"/>
                    </a:cubicBezTo>
                    <a:cubicBezTo>
                      <a:pt x="21" y="99"/>
                      <a:pt x="21" y="99"/>
                      <a:pt x="21" y="99"/>
                    </a:cubicBezTo>
                    <a:cubicBezTo>
                      <a:pt x="21" y="101"/>
                      <a:pt x="23" y="102"/>
                      <a:pt x="2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6" y="102"/>
                      <a:pt x="37" y="100"/>
                      <a:pt x="37" y="99"/>
                    </a:cubicBezTo>
                    <a:cubicBezTo>
                      <a:pt x="37" y="89"/>
                      <a:pt x="37" y="89"/>
                      <a:pt x="37" y="89"/>
                    </a:cubicBezTo>
                    <a:cubicBezTo>
                      <a:pt x="50" y="86"/>
                      <a:pt x="58" y="77"/>
                      <a:pt x="58" y="65"/>
                    </a:cubicBezTo>
                    <a:cubicBezTo>
                      <a:pt x="57" y="53"/>
                      <a:pt x="51" y="46"/>
                      <a:pt x="36" y="41"/>
                    </a:cubicBezTo>
                    <a:cubicBezTo>
                      <a:pt x="26" y="38"/>
                      <a:pt x="23" y="36"/>
                      <a:pt x="23" y="33"/>
                    </a:cubicBezTo>
                    <a:cubicBezTo>
                      <a:pt x="23" y="29"/>
                      <a:pt x="28" y="28"/>
                      <a:pt x="31" y="28"/>
                    </a:cubicBezTo>
                    <a:cubicBezTo>
                      <a:pt x="38" y="28"/>
                      <a:pt x="43" y="30"/>
                      <a:pt x="46" y="31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9" y="32"/>
                      <a:pt x="50" y="31"/>
                      <a:pt x="50" y="29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6"/>
                      <a:pt x="53" y="14"/>
                      <a:pt x="51" y="14"/>
                    </a:cubicBezTo>
                    <a:cubicBezTo>
                      <a:pt x="46" y="12"/>
                      <a:pt x="41" y="11"/>
                      <a:pt x="36" y="11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6" y="1"/>
                      <a:pt x="34" y="0"/>
                      <a:pt x="32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1" y="0"/>
                      <a:pt x="20" y="2"/>
                      <a:pt x="20" y="4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7" y="15"/>
                      <a:pt x="0" y="24"/>
                      <a:pt x="0" y="36"/>
                    </a:cubicBezTo>
                    <a:cubicBezTo>
                      <a:pt x="1" y="50"/>
                      <a:pt x="13" y="56"/>
                      <a:pt x="24" y="59"/>
                    </a:cubicBezTo>
                    <a:close/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5" name="Oval 23"/>
              <p:cNvSpPr>
                <a:spLocks noChangeArrowheads="1"/>
              </p:cNvSpPr>
              <p:nvPr userDrawn="1"/>
            </p:nvSpPr>
            <p:spPr bwMode="auto">
              <a:xfrm>
                <a:off x="1887538" y="4314825"/>
                <a:ext cx="49213" cy="55563"/>
              </a:xfrm>
              <a:prstGeom prst="ellipse">
                <a:avLst/>
              </a:pr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6" name="Freeform 24"/>
              <p:cNvSpPr>
                <a:spLocks/>
              </p:cNvSpPr>
              <p:nvPr userDrawn="1"/>
            </p:nvSpPr>
            <p:spPr bwMode="auto">
              <a:xfrm>
                <a:off x="1985963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7" name="Freeform 25"/>
              <p:cNvSpPr>
                <a:spLocks/>
              </p:cNvSpPr>
              <p:nvPr userDrawn="1"/>
            </p:nvSpPr>
            <p:spPr bwMode="auto">
              <a:xfrm>
                <a:off x="1895475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8" name="Freeform 26"/>
              <p:cNvSpPr>
                <a:spLocks/>
              </p:cNvSpPr>
              <p:nvPr userDrawn="1"/>
            </p:nvSpPr>
            <p:spPr bwMode="auto">
              <a:xfrm>
                <a:off x="1809750" y="4405313"/>
                <a:ext cx="53975" cy="185738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117"/>
                  </a:cxn>
                </a:cxnLst>
                <a:rect l="0" t="0" r="r" b="b"/>
                <a:pathLst>
                  <a:path w="34" h="117">
                    <a:moveTo>
                      <a:pt x="0" y="1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117"/>
                    </a:ln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29" name="Freeform 27"/>
              <p:cNvSpPr>
                <a:spLocks/>
              </p:cNvSpPr>
              <p:nvPr userDrawn="1"/>
            </p:nvSpPr>
            <p:spPr bwMode="auto">
              <a:xfrm>
                <a:off x="1741488" y="4260850"/>
                <a:ext cx="357188" cy="330200"/>
              </a:xfrm>
              <a:custGeom>
                <a:avLst/>
                <a:gdLst/>
                <a:ahLst/>
                <a:cxnLst>
                  <a:cxn ang="0">
                    <a:pos x="14" y="134"/>
                  </a:cxn>
                  <a:cxn ang="0">
                    <a:pos x="14" y="62"/>
                  </a:cxn>
                  <a:cxn ang="0">
                    <a:pos x="10" y="60"/>
                  </a:cxn>
                  <a:cxn ang="0">
                    <a:pos x="0" y="60"/>
                  </a:cxn>
                  <a:cxn ang="0">
                    <a:pos x="0" y="50"/>
                  </a:cxn>
                  <a:cxn ang="0">
                    <a:pos x="67" y="4"/>
                  </a:cxn>
                  <a:cxn ang="0">
                    <a:pos x="75" y="4"/>
                  </a:cxn>
                  <a:cxn ang="0">
                    <a:pos x="145" y="47"/>
                  </a:cxn>
                  <a:cxn ang="0">
                    <a:pos x="145" y="57"/>
                  </a:cxn>
                  <a:cxn ang="0">
                    <a:pos x="141" y="61"/>
                  </a:cxn>
                  <a:cxn ang="0">
                    <a:pos x="136" y="61"/>
                  </a:cxn>
                  <a:cxn ang="0">
                    <a:pos x="136" y="135"/>
                  </a:cxn>
                </a:cxnLst>
                <a:rect l="0" t="0" r="r" b="b"/>
                <a:pathLst>
                  <a:path w="146" h="135">
                    <a:moveTo>
                      <a:pt x="14" y="134"/>
                    </a:move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2"/>
                      <a:pt x="15" y="60"/>
                      <a:pt x="1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51" y="16"/>
                      <a:pt x="67" y="4"/>
                    </a:cubicBezTo>
                    <a:cubicBezTo>
                      <a:pt x="69" y="3"/>
                      <a:pt x="71" y="0"/>
                      <a:pt x="75" y="4"/>
                    </a:cubicBezTo>
                    <a:cubicBezTo>
                      <a:pt x="80" y="7"/>
                      <a:pt x="145" y="47"/>
                      <a:pt x="145" y="47"/>
                    </a:cubicBezTo>
                    <a:cubicBezTo>
                      <a:pt x="145" y="57"/>
                      <a:pt x="145" y="57"/>
                      <a:pt x="145" y="57"/>
                    </a:cubicBezTo>
                    <a:cubicBezTo>
                      <a:pt x="145" y="57"/>
                      <a:pt x="146" y="61"/>
                      <a:pt x="141" y="61"/>
                    </a:cubicBezTo>
                    <a:cubicBezTo>
                      <a:pt x="136" y="61"/>
                      <a:pt x="136" y="61"/>
                      <a:pt x="136" y="61"/>
                    </a:cubicBezTo>
                    <a:cubicBezTo>
                      <a:pt x="136" y="135"/>
                      <a:pt x="136" y="135"/>
                      <a:pt x="136" y="135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0" name="Freeform 28"/>
              <p:cNvSpPr>
                <a:spLocks/>
              </p:cNvSpPr>
              <p:nvPr userDrawn="1"/>
            </p:nvSpPr>
            <p:spPr bwMode="auto">
              <a:xfrm>
                <a:off x="1717675" y="4592638"/>
                <a:ext cx="41275" cy="68263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3" y="28"/>
                  </a:cxn>
                </a:cxnLst>
                <a:rect l="0" t="0" r="r" b="b"/>
                <a:pathLst>
                  <a:path w="17" h="28">
                    <a:moveTo>
                      <a:pt x="17" y="0"/>
                    </a:moveTo>
                    <a:cubicBezTo>
                      <a:pt x="0" y="10"/>
                      <a:pt x="3" y="28"/>
                      <a:pt x="3" y="28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  <p:sp>
            <p:nvSpPr>
              <p:cNvPr id="31" name="Freeform 30"/>
              <p:cNvSpPr>
                <a:spLocks/>
              </p:cNvSpPr>
              <p:nvPr userDrawn="1"/>
            </p:nvSpPr>
            <p:spPr bwMode="auto">
              <a:xfrm>
                <a:off x="2090738" y="4595813"/>
                <a:ext cx="44450" cy="682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8"/>
                  </a:cxn>
                </a:cxnLst>
                <a:rect l="0" t="0" r="r" b="b"/>
                <a:pathLst>
                  <a:path w="18" h="28">
                    <a:moveTo>
                      <a:pt x="0" y="0"/>
                    </a:moveTo>
                    <a:cubicBezTo>
                      <a:pt x="18" y="10"/>
                      <a:pt x="14" y="28"/>
                      <a:pt x="14" y="28"/>
                    </a:cubicBezTo>
                  </a:path>
                </a:pathLst>
              </a:custGeom>
              <a:noFill/>
              <a:ln w="1111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88239"/>
                <a:endParaRPr lang="en-US" sz="2133" dirty="0">
                  <a:solidFill>
                    <a:srgbClr val="00234B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5877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20078" y="1495426"/>
            <a:ext cx="11351847" cy="4772025"/>
          </a:xfrm>
        </p:spPr>
        <p:txBody>
          <a:bodyPr/>
          <a:lstStyle>
            <a:lvl1pPr>
              <a:buClr>
                <a:schemeClr val="accent3"/>
              </a:buClr>
              <a:defRPr sz="1867" b="0">
                <a:solidFill>
                  <a:srgbClr val="000000"/>
                </a:solidFill>
              </a:defRPr>
            </a:lvl1pPr>
            <a:lvl2pPr marL="519488" indent="-259744"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2pPr>
            <a:lvl3pPr marL="779233" indent="-259744">
              <a:buClr>
                <a:schemeClr val="accent3"/>
              </a:buClr>
              <a:defRPr sz="1467">
                <a:solidFill>
                  <a:srgbClr val="000000"/>
                </a:solidFill>
              </a:defRPr>
            </a:lvl3pPr>
            <a:lvl4pPr>
              <a:buClr>
                <a:schemeClr val="accent3"/>
              </a:buClr>
              <a:defRPr sz="1333">
                <a:solidFill>
                  <a:srgbClr val="000000"/>
                </a:solidFill>
              </a:defRPr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122102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20077" y="2044931"/>
            <a:ext cx="11351848" cy="4222519"/>
          </a:xfrm>
        </p:spPr>
        <p:txBody>
          <a:bodyPr/>
          <a:lstStyle>
            <a:lvl1pPr>
              <a:buClr>
                <a:schemeClr val="accent3"/>
              </a:buClr>
              <a:defRPr b="0"/>
            </a:lvl1pPr>
            <a:lvl2pPr marL="519488" indent="-254334"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420077" y="1495425"/>
            <a:ext cx="11351848" cy="548640"/>
          </a:xfrm>
        </p:spPr>
        <p:txBody>
          <a:bodyPr/>
          <a:lstStyle>
            <a:lvl1pPr marL="0" indent="0">
              <a:buNone/>
              <a:defRPr sz="21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96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420077" y="1495426"/>
            <a:ext cx="5523523" cy="4753519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 marL="519488" indent="-259744">
              <a:buClr>
                <a:schemeClr val="accent3"/>
              </a:buClr>
              <a:defRPr/>
            </a:lvl2pPr>
            <a:lvl3pPr marL="779233" indent="-259744"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6248401" y="1495427"/>
            <a:ext cx="5523524" cy="4772024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 marL="519488" indent="-259744"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27212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2" y="1"/>
            <a:ext cx="12191999" cy="997527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>
          <a:xfrm>
            <a:off x="420078" y="1495425"/>
            <a:ext cx="11351847" cy="4772025"/>
          </a:xfrm>
          <a:prstGeom prst="rect">
            <a:avLst/>
          </a:prstGeom>
        </p:spPr>
        <p:txBody>
          <a:bodyPr vert="horz" lIns="0" tIns="28173" rIns="28173" bIns="28173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9"/>
            </p:custDataLst>
          </p:nvPr>
        </p:nvSpPr>
        <p:spPr>
          <a:xfrm>
            <a:off x="11780923" y="6653997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1088239"/>
            <a:fld id="{6A895693-0027-4F28-9367-92E39A51F51C}" type="slidenum">
              <a:rPr lang="en-US" sz="800">
                <a:solidFill>
                  <a:srgbClr val="000000"/>
                </a:solidFill>
              </a:rPr>
              <a:pPr algn="ctr" defTabSz="1088239"/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3" y="676401"/>
            <a:ext cx="12191999" cy="72812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3131" tIns="56565" rIns="113131" bIns="56565" numCol="1" anchor="t" anchorCtr="0" compatLnSpc="1">
            <a:prstTxWarp prst="textNoShape">
              <a:avLst/>
            </a:prstTxWarp>
          </a:bodyPr>
          <a:lstStyle/>
          <a:p>
            <a:pPr defTabSz="1088239"/>
            <a:endParaRPr lang="fr-FR" sz="2133" dirty="0">
              <a:solidFill>
                <a:srgbClr val="B70132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57662" y="6623405"/>
            <a:ext cx="3514615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40903" tIns="40903" rIns="40903" bIns="40903" anchor="b" anchorCtr="0">
            <a:noAutofit/>
          </a:bodyPr>
          <a:lstStyle/>
          <a:p>
            <a:pPr algn="r" defTabSz="1131062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800" dirty="0">
                <a:solidFill>
                  <a:srgbClr val="000000"/>
                </a:solidFill>
                <a:cs typeface="Helvetica Light"/>
              </a:rPr>
              <a:t>Copyright © 2017 Capgemini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2"/>
            </p:custDataLst>
          </p:nvPr>
        </p:nvSpPr>
        <p:spPr>
          <a:xfrm>
            <a:off x="9215902" y="6427223"/>
            <a:ext cx="2356375" cy="195815"/>
          </a:xfrm>
          <a:prstGeom prst="rect">
            <a:avLst/>
          </a:prstGeom>
        </p:spPr>
        <p:txBody>
          <a:bodyPr wrap="none" lIns="40903" tIns="40903" rIns="40903" bIns="40903" anchor="b" anchorCtr="0">
            <a:noAutofit/>
          </a:bodyPr>
          <a:lstStyle/>
          <a:p>
            <a:pPr algn="r" defTabSz="1088239"/>
            <a:r>
              <a:rPr lang="en-US" sz="800" dirty="0">
                <a:solidFill>
                  <a:srgbClr val="000000"/>
                </a:solidFill>
              </a:rPr>
              <a:t>Legacy to Cloud Native Modernization - ACAPS | July 2017</a:t>
            </a:r>
          </a:p>
        </p:txBody>
      </p:sp>
      <p:cxnSp>
        <p:nvCxnSpPr>
          <p:cNvPr id="15" name="Straight Connector 5"/>
          <p:cNvCxnSpPr/>
          <p:nvPr>
            <p:custDataLst>
              <p:tags r:id="rId23"/>
            </p:custDataLst>
          </p:nvPr>
        </p:nvCxnSpPr>
        <p:spPr>
          <a:xfrm flipH="1">
            <a:off x="3" y="6362700"/>
            <a:ext cx="12191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5244" y="6425191"/>
            <a:ext cx="1554480" cy="365760"/>
          </a:xfrm>
          <a:prstGeom prst="rect">
            <a:avLst/>
          </a:prstGeom>
          <a:noFill/>
        </p:spPr>
      </p:pic>
      <p:pic>
        <p:nvPicPr>
          <p:cNvPr id="16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9" cstate="email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65826" y="6504708"/>
            <a:ext cx="979447" cy="20672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5428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8" r:id="rId14"/>
  </p:sldLayoutIdLst>
  <p:txStyles>
    <p:titleStyle>
      <a:lvl1pPr algn="l" defTabSz="1038910" rtl="0" eaLnBrk="1" latinLnBrk="0" hangingPunct="1">
        <a:lnSpc>
          <a:spcPct val="100000"/>
        </a:lnSpc>
        <a:spcBef>
          <a:spcPct val="0"/>
        </a:spcBef>
        <a:buNone/>
        <a:defRPr sz="2667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9744" indent="-259744" algn="l" defTabSz="1038910" rtl="0" eaLnBrk="1" latinLnBrk="0" hangingPunct="1">
        <a:lnSpc>
          <a:spcPct val="100000"/>
        </a:lnSpc>
        <a:spcBef>
          <a:spcPts val="0"/>
        </a:spcBef>
        <a:spcAft>
          <a:spcPts val="681"/>
        </a:spcAft>
        <a:buClr>
          <a:schemeClr val="accent3"/>
        </a:buClr>
        <a:buFont typeface="Wingdings" pitchFamily="2" charset="2"/>
        <a:buChar char="§"/>
        <a:defRPr sz="1867" b="0" kern="1200">
          <a:solidFill>
            <a:srgbClr val="000000"/>
          </a:solidFill>
          <a:latin typeface="+mn-lt"/>
          <a:ea typeface="+mn-ea"/>
          <a:cs typeface="+mn-cs"/>
        </a:defRPr>
      </a:lvl1pPr>
      <a:lvl2pPr marL="519488" indent="-259744" algn="l" defTabSz="1038910" rtl="0" eaLnBrk="1" latinLnBrk="0" hangingPunct="1">
        <a:lnSpc>
          <a:spcPct val="100000"/>
        </a:lnSpc>
        <a:spcBef>
          <a:spcPts val="0"/>
        </a:spcBef>
        <a:spcAft>
          <a:spcPts val="681"/>
        </a:spcAft>
        <a:buClr>
          <a:schemeClr val="accent3"/>
        </a:buClr>
        <a:buFont typeface="Arial" pitchFamily="34" charset="0"/>
        <a:buChar char="•"/>
        <a:defRPr sz="1867" b="0" kern="1200">
          <a:solidFill>
            <a:srgbClr val="000000"/>
          </a:solidFill>
          <a:latin typeface="+mn-lt"/>
          <a:ea typeface="+mn-ea"/>
          <a:cs typeface="+mn-cs"/>
        </a:defRPr>
      </a:lvl2pPr>
      <a:lvl3pPr marL="779233" indent="-259744" algn="l" defTabSz="1038910" rtl="0" eaLnBrk="1" latinLnBrk="0" hangingPunct="1">
        <a:lnSpc>
          <a:spcPct val="100000"/>
        </a:lnSpc>
        <a:spcBef>
          <a:spcPts val="0"/>
        </a:spcBef>
        <a:spcAft>
          <a:spcPts val="681"/>
        </a:spcAft>
        <a:buClr>
          <a:schemeClr val="accent3"/>
        </a:buClr>
        <a:buFont typeface="Arial" pitchFamily="34" charset="0"/>
        <a:buChar char="–"/>
        <a:defRPr sz="1867" kern="1200">
          <a:solidFill>
            <a:srgbClr val="000000"/>
          </a:solidFill>
          <a:latin typeface="+mn-lt"/>
          <a:ea typeface="+mn-ea"/>
          <a:cs typeface="+mn-cs"/>
        </a:defRPr>
      </a:lvl3pPr>
      <a:lvl4pPr marL="1038977" marR="0" indent="-259744" algn="l" defTabSz="103891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SzTx/>
        <a:buFont typeface="Courier New" pitchFamily="49" charset="0"/>
        <a:buChar char="o"/>
        <a:tabLst/>
        <a:defRPr sz="1867" kern="1200">
          <a:solidFill>
            <a:srgbClr val="000000"/>
          </a:solidFill>
          <a:latin typeface="+mn-lt"/>
          <a:ea typeface="+mn-ea"/>
          <a:cs typeface="+mn-cs"/>
        </a:defRPr>
      </a:lvl4pPr>
      <a:lvl5pPr marL="1828917" indent="-220048" algn="l" defTabSz="1038910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67" kern="1200">
          <a:solidFill>
            <a:srgbClr val="494949"/>
          </a:solidFill>
          <a:latin typeface="+mn-lt"/>
          <a:ea typeface="+mn-ea"/>
          <a:cs typeface="+mn-cs"/>
        </a:defRPr>
      </a:lvl5pPr>
      <a:lvl6pPr marL="285700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46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591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37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5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1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36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82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276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73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188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643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26" Type="http://schemas.openxmlformats.org/officeDocument/2006/relationships/image" Target="../media/image39.png"/><Relationship Id="rId39" Type="http://schemas.openxmlformats.org/officeDocument/2006/relationships/image" Target="../media/image52.jpeg"/><Relationship Id="rId3" Type="http://schemas.openxmlformats.org/officeDocument/2006/relationships/image" Target="../media/image16.png"/><Relationship Id="rId21" Type="http://schemas.openxmlformats.org/officeDocument/2006/relationships/image" Target="../media/image34.png"/><Relationship Id="rId34" Type="http://schemas.openxmlformats.org/officeDocument/2006/relationships/image" Target="../media/image47.jpeg"/><Relationship Id="rId42" Type="http://schemas.openxmlformats.org/officeDocument/2006/relationships/image" Target="../media/image55.png"/><Relationship Id="rId7" Type="http://schemas.openxmlformats.org/officeDocument/2006/relationships/image" Target="../media/image20.jpe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5" Type="http://schemas.openxmlformats.org/officeDocument/2006/relationships/image" Target="../media/image38.png"/><Relationship Id="rId33" Type="http://schemas.openxmlformats.org/officeDocument/2006/relationships/image" Target="../media/image46.jpeg"/><Relationship Id="rId38" Type="http://schemas.openxmlformats.org/officeDocument/2006/relationships/image" Target="../media/image51.jpeg"/><Relationship Id="rId2" Type="http://schemas.openxmlformats.org/officeDocument/2006/relationships/image" Target="../media/image15.jpeg"/><Relationship Id="rId16" Type="http://schemas.openxmlformats.org/officeDocument/2006/relationships/image" Target="../media/image29.jpeg"/><Relationship Id="rId20" Type="http://schemas.openxmlformats.org/officeDocument/2006/relationships/image" Target="../media/image33.png"/><Relationship Id="rId29" Type="http://schemas.openxmlformats.org/officeDocument/2006/relationships/image" Target="../media/image42.jpeg"/><Relationship Id="rId41" Type="http://schemas.openxmlformats.org/officeDocument/2006/relationships/image" Target="../media/image5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24" Type="http://schemas.openxmlformats.org/officeDocument/2006/relationships/image" Target="../media/image37.png"/><Relationship Id="rId32" Type="http://schemas.openxmlformats.org/officeDocument/2006/relationships/image" Target="../media/image45.jpeg"/><Relationship Id="rId37" Type="http://schemas.openxmlformats.org/officeDocument/2006/relationships/image" Target="../media/image50.png"/><Relationship Id="rId40" Type="http://schemas.openxmlformats.org/officeDocument/2006/relationships/image" Target="../media/image53.jpeg"/><Relationship Id="rId5" Type="http://schemas.openxmlformats.org/officeDocument/2006/relationships/image" Target="../media/image18.png"/><Relationship Id="rId15" Type="http://schemas.openxmlformats.org/officeDocument/2006/relationships/image" Target="../media/image28.jpeg"/><Relationship Id="rId23" Type="http://schemas.openxmlformats.org/officeDocument/2006/relationships/image" Target="../media/image36.jpeg"/><Relationship Id="rId28" Type="http://schemas.openxmlformats.org/officeDocument/2006/relationships/image" Target="../media/image41.png"/><Relationship Id="rId36" Type="http://schemas.openxmlformats.org/officeDocument/2006/relationships/image" Target="../media/image49.png"/><Relationship Id="rId10" Type="http://schemas.openxmlformats.org/officeDocument/2006/relationships/image" Target="../media/image23.jpeg"/><Relationship Id="rId19" Type="http://schemas.openxmlformats.org/officeDocument/2006/relationships/image" Target="../media/image32.png"/><Relationship Id="rId31" Type="http://schemas.openxmlformats.org/officeDocument/2006/relationships/image" Target="../media/image44.jpeg"/><Relationship Id="rId4" Type="http://schemas.openxmlformats.org/officeDocument/2006/relationships/image" Target="../media/image17.jpeg"/><Relationship Id="rId9" Type="http://schemas.openxmlformats.org/officeDocument/2006/relationships/image" Target="../media/image22.png"/><Relationship Id="rId14" Type="http://schemas.openxmlformats.org/officeDocument/2006/relationships/image" Target="../media/image27.png"/><Relationship Id="rId22" Type="http://schemas.openxmlformats.org/officeDocument/2006/relationships/image" Target="../media/image35.png"/><Relationship Id="rId27" Type="http://schemas.openxmlformats.org/officeDocument/2006/relationships/image" Target="../media/image40.png"/><Relationship Id="rId30" Type="http://schemas.openxmlformats.org/officeDocument/2006/relationships/image" Target="../media/image43.gif"/><Relationship Id="rId35" Type="http://schemas.openxmlformats.org/officeDocument/2006/relationships/image" Target="../media/image4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2" y="1"/>
            <a:ext cx="9905999" cy="617517"/>
          </a:xfrm>
        </p:spPr>
        <p:txBody>
          <a:bodyPr/>
          <a:lstStyle/>
          <a:p>
            <a:r>
              <a:rPr lang="en-US" sz="2400" dirty="0" err="1"/>
              <a:t>DevOps</a:t>
            </a:r>
            <a:r>
              <a:rPr lang="en-US" sz="2400" dirty="0"/>
              <a:t> Automation View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8589558" y="1626358"/>
            <a:ext cx="2286000" cy="2398379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14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lvl="0"/>
            <a:r>
              <a:rPr lang="en-US" sz="1100" b="1" dirty="0">
                <a:solidFill>
                  <a:srgbClr val="998C85">
                    <a:lumMod val="50000"/>
                  </a:srgbClr>
                </a:solidFill>
              </a:rPr>
              <a:t>Production Environment</a:t>
            </a:r>
          </a:p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4" name="Picture 6" descr="D:\Users\mudjain\Desktop\images (1)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9071541" y="2073691"/>
            <a:ext cx="1539395" cy="1479611"/>
          </a:xfrm>
          <a:prstGeom prst="rect">
            <a:avLst/>
          </a:prstGeom>
          <a:noFill/>
        </p:spPr>
      </p:pic>
      <p:sp>
        <p:nvSpPr>
          <p:cNvPr id="5" name="Rounded Rectangle 4"/>
          <p:cNvSpPr/>
          <p:nvPr/>
        </p:nvSpPr>
        <p:spPr>
          <a:xfrm>
            <a:off x="1233450" y="1626358"/>
            <a:ext cx="4736305" cy="1088916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85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476396" y="1760770"/>
            <a:ext cx="1119818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Static Analysis</a:t>
            </a:r>
          </a:p>
        </p:txBody>
      </p:sp>
      <p:sp>
        <p:nvSpPr>
          <p:cNvPr id="7" name="Rectangle 6"/>
          <p:cNvSpPr/>
          <p:nvPr/>
        </p:nvSpPr>
        <p:spPr>
          <a:xfrm>
            <a:off x="2356512" y="1760770"/>
            <a:ext cx="1011581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1828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Unit Test</a:t>
            </a:r>
          </a:p>
        </p:txBody>
      </p:sp>
      <p:sp>
        <p:nvSpPr>
          <p:cNvPr id="8" name="Round Same Side Corner Rectangle 7"/>
          <p:cNvSpPr/>
          <p:nvPr/>
        </p:nvSpPr>
        <p:spPr>
          <a:xfrm>
            <a:off x="1233449" y="2715324"/>
            <a:ext cx="4736305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Commit Stage</a:t>
            </a:r>
          </a:p>
        </p:txBody>
      </p:sp>
      <p:sp>
        <p:nvSpPr>
          <p:cNvPr id="9" name="Round Same Side Corner Rectangle 8"/>
          <p:cNvSpPr/>
          <p:nvPr/>
        </p:nvSpPr>
        <p:spPr>
          <a:xfrm>
            <a:off x="1233449" y="2715324"/>
            <a:ext cx="4736305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Commit Stage</a:t>
            </a:r>
          </a:p>
        </p:txBody>
      </p:sp>
      <p:sp>
        <p:nvSpPr>
          <p:cNvPr id="11" name="Round Same Side Corner Rectangle 10"/>
          <p:cNvSpPr/>
          <p:nvPr/>
        </p:nvSpPr>
        <p:spPr>
          <a:xfrm>
            <a:off x="3683754" y="6040861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cceptance Stage</a:t>
            </a:r>
          </a:p>
        </p:txBody>
      </p:sp>
      <p:sp>
        <p:nvSpPr>
          <p:cNvPr id="12" name="Round Same Side Corner Rectangle 11"/>
          <p:cNvSpPr/>
          <p:nvPr/>
        </p:nvSpPr>
        <p:spPr>
          <a:xfrm>
            <a:off x="3683754" y="6040861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cceptance Stage</a:t>
            </a:r>
          </a:p>
        </p:txBody>
      </p:sp>
      <p:sp>
        <p:nvSpPr>
          <p:cNvPr id="13" name="Round Same Side Corner Rectangle 12"/>
          <p:cNvSpPr/>
          <p:nvPr/>
        </p:nvSpPr>
        <p:spPr>
          <a:xfrm>
            <a:off x="1233449" y="6040861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1233449" y="3077344"/>
            <a:ext cx="2286000" cy="2955030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85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Round Same Side Corner Rectangle 14"/>
          <p:cNvSpPr/>
          <p:nvPr/>
        </p:nvSpPr>
        <p:spPr>
          <a:xfrm>
            <a:off x="1233449" y="947329"/>
            <a:ext cx="9667700" cy="563210"/>
          </a:xfrm>
          <a:prstGeom prst="round2SameRect">
            <a:avLst/>
          </a:prstGeom>
          <a:solidFill>
            <a:schemeClr val="tx1">
              <a:lumMod val="40000"/>
              <a:lumOff val="60000"/>
              <a:alpha val="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/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Monitoring &amp; Control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324889" y="3788534"/>
            <a:ext cx="2103120" cy="102289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36576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Development &amp; Configuration</a:t>
            </a:r>
          </a:p>
        </p:txBody>
      </p:sp>
      <p:pic>
        <p:nvPicPr>
          <p:cNvPr id="19" name="Picture 2" descr="D:\Project Data\MJ's Data\Assets\Pics And Logos\User.png"/>
          <p:cNvPicPr>
            <a:picLocks noChangeAspect="1" noChangeArrowheads="1"/>
          </p:cNvPicPr>
          <p:nvPr/>
        </p:nvPicPr>
        <p:blipFill>
          <a:blip r:embed="rId3" cstate="print"/>
          <a:srcRect l="23756" t="6901" r="22635" b="34155"/>
          <a:stretch>
            <a:fillRect/>
          </a:stretch>
        </p:blipFill>
        <p:spPr bwMode="auto">
          <a:xfrm>
            <a:off x="1526687" y="4263343"/>
            <a:ext cx="276489" cy="304682"/>
          </a:xfrm>
          <a:prstGeom prst="rect">
            <a:avLst/>
          </a:prstGeom>
          <a:noFill/>
        </p:spPr>
      </p:pic>
      <p:sp>
        <p:nvSpPr>
          <p:cNvPr id="20" name="Rectangle 27"/>
          <p:cNvSpPr/>
          <p:nvPr/>
        </p:nvSpPr>
        <p:spPr>
          <a:xfrm>
            <a:off x="1324889" y="4901012"/>
            <a:ext cx="2103120" cy="1024508"/>
          </a:xfrm>
          <a:custGeom>
            <a:avLst/>
            <a:gdLst>
              <a:gd name="connsiteX0" fmla="*/ 0 w 2342339"/>
              <a:gd name="connsiteY0" fmla="*/ 0 h 1022890"/>
              <a:gd name="connsiteX1" fmla="*/ 2342339 w 2342339"/>
              <a:gd name="connsiteY1" fmla="*/ 0 h 1022890"/>
              <a:gd name="connsiteX2" fmla="*/ 2342339 w 2342339"/>
              <a:gd name="connsiteY2" fmla="*/ 1022890 h 1022890"/>
              <a:gd name="connsiteX3" fmla="*/ 0 w 2342339"/>
              <a:gd name="connsiteY3" fmla="*/ 1022890 h 1022890"/>
              <a:gd name="connsiteX4" fmla="*/ 0 w 2342339"/>
              <a:gd name="connsiteY4" fmla="*/ 0 h 1022890"/>
              <a:gd name="connsiteX0" fmla="*/ 0 w 2342339"/>
              <a:gd name="connsiteY0" fmla="*/ 4158 h 1027048"/>
              <a:gd name="connsiteX1" fmla="*/ 1249438 w 2342339"/>
              <a:gd name="connsiteY1" fmla="*/ 0 h 1027048"/>
              <a:gd name="connsiteX2" fmla="*/ 2342339 w 2342339"/>
              <a:gd name="connsiteY2" fmla="*/ 4158 h 1027048"/>
              <a:gd name="connsiteX3" fmla="*/ 2342339 w 2342339"/>
              <a:gd name="connsiteY3" fmla="*/ 1027048 h 1027048"/>
              <a:gd name="connsiteX4" fmla="*/ 0 w 2342339"/>
              <a:gd name="connsiteY4" fmla="*/ 1027048 h 1027048"/>
              <a:gd name="connsiteX5" fmla="*/ 0 w 2342339"/>
              <a:gd name="connsiteY5" fmla="*/ 4158 h 1027048"/>
              <a:gd name="connsiteX0" fmla="*/ 0 w 2342339"/>
              <a:gd name="connsiteY0" fmla="*/ 4158 h 1027048"/>
              <a:gd name="connsiteX1" fmla="*/ 773188 w 2342339"/>
              <a:gd name="connsiteY1" fmla="*/ 6350 h 1027048"/>
              <a:gd name="connsiteX2" fmla="*/ 1249438 w 2342339"/>
              <a:gd name="connsiteY2" fmla="*/ 0 h 1027048"/>
              <a:gd name="connsiteX3" fmla="*/ 2342339 w 2342339"/>
              <a:gd name="connsiteY3" fmla="*/ 4158 h 1027048"/>
              <a:gd name="connsiteX4" fmla="*/ 2342339 w 2342339"/>
              <a:gd name="connsiteY4" fmla="*/ 1027048 h 1027048"/>
              <a:gd name="connsiteX5" fmla="*/ 0 w 2342339"/>
              <a:gd name="connsiteY5" fmla="*/ 1027048 h 1027048"/>
              <a:gd name="connsiteX6" fmla="*/ 0 w 2342339"/>
              <a:gd name="connsiteY6" fmla="*/ 4158 h 1027048"/>
              <a:gd name="connsiteX0" fmla="*/ 1249438 w 2342339"/>
              <a:gd name="connsiteY0" fmla="*/ 0 h 1027048"/>
              <a:gd name="connsiteX1" fmla="*/ 2342339 w 2342339"/>
              <a:gd name="connsiteY1" fmla="*/ 4158 h 1027048"/>
              <a:gd name="connsiteX2" fmla="*/ 2342339 w 2342339"/>
              <a:gd name="connsiteY2" fmla="*/ 1027048 h 1027048"/>
              <a:gd name="connsiteX3" fmla="*/ 0 w 2342339"/>
              <a:gd name="connsiteY3" fmla="*/ 1027048 h 1027048"/>
              <a:gd name="connsiteX4" fmla="*/ 0 w 2342339"/>
              <a:gd name="connsiteY4" fmla="*/ 4158 h 1027048"/>
              <a:gd name="connsiteX5" fmla="*/ 864628 w 2342339"/>
              <a:gd name="connsiteY5" fmla="*/ 97790 h 1027048"/>
              <a:gd name="connsiteX0" fmla="*/ 1249438 w 2342339"/>
              <a:gd name="connsiteY0" fmla="*/ 0 h 1027048"/>
              <a:gd name="connsiteX1" fmla="*/ 2342339 w 2342339"/>
              <a:gd name="connsiteY1" fmla="*/ 4158 h 1027048"/>
              <a:gd name="connsiteX2" fmla="*/ 2342339 w 2342339"/>
              <a:gd name="connsiteY2" fmla="*/ 1027048 h 1027048"/>
              <a:gd name="connsiteX3" fmla="*/ 0 w 2342339"/>
              <a:gd name="connsiteY3" fmla="*/ 1027048 h 1027048"/>
              <a:gd name="connsiteX4" fmla="*/ 0 w 2342339"/>
              <a:gd name="connsiteY4" fmla="*/ 4158 h 1027048"/>
              <a:gd name="connsiteX5" fmla="*/ 858278 w 2342339"/>
              <a:gd name="connsiteY5" fmla="*/ 2540 h 102704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858278 w 2342339"/>
              <a:gd name="connsiteY5" fmla="*/ 0 h 102450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991628 w 2342339"/>
              <a:gd name="connsiteY5" fmla="*/ 0 h 102450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991628 w 2342339"/>
              <a:gd name="connsiteY5" fmla="*/ 0 h 102450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1156728 w 2342339"/>
              <a:gd name="connsiteY5" fmla="*/ 0 h 1024508"/>
              <a:gd name="connsiteX0" fmla="*/ 1503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1156728 w 2342339"/>
              <a:gd name="connsiteY5" fmla="*/ 0 h 1024508"/>
              <a:gd name="connsiteX0" fmla="*/ 15542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1156728 w 2342339"/>
              <a:gd name="connsiteY5" fmla="*/ 0 h 1024508"/>
              <a:gd name="connsiteX0" fmla="*/ 1554238 w 2342339"/>
              <a:gd name="connsiteY0" fmla="*/ 3810 h 1024508"/>
              <a:gd name="connsiteX1" fmla="*/ 1535188 w 2342339"/>
              <a:gd name="connsiteY1" fmla="*/ 381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554238 w 2342339"/>
              <a:gd name="connsiteY0" fmla="*/ 3810 h 1024508"/>
              <a:gd name="connsiteX1" fmla="*/ 1446288 w 2342339"/>
              <a:gd name="connsiteY1" fmla="*/ 32131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338338 w 2342339"/>
              <a:gd name="connsiteY0" fmla="*/ 340360 h 1024508"/>
              <a:gd name="connsiteX1" fmla="*/ 1446288 w 2342339"/>
              <a:gd name="connsiteY1" fmla="*/ 32131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338338 w 2342339"/>
              <a:gd name="connsiteY0" fmla="*/ 340360 h 1024508"/>
              <a:gd name="connsiteX1" fmla="*/ 1471688 w 2342339"/>
              <a:gd name="connsiteY1" fmla="*/ 1016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1016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5397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5396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4982 w 2342339"/>
              <a:gd name="connsiteY7" fmla="*/ 3810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16894 w 2342339"/>
              <a:gd name="connsiteY7" fmla="*/ 151447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07369 w 2342339"/>
              <a:gd name="connsiteY7" fmla="*/ 256222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07369 w 2342339"/>
              <a:gd name="connsiteY7" fmla="*/ 256222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9744 w 2342339"/>
              <a:gd name="connsiteY7" fmla="*/ 196691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9744 w 2342339"/>
              <a:gd name="connsiteY7" fmla="*/ 177641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87166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84785 h 1024508"/>
              <a:gd name="connsiteX0" fmla="*/ 1474069 w 2342339"/>
              <a:gd name="connsiteY0" fmla="*/ 1077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84785 h 1024508"/>
              <a:gd name="connsiteX0" fmla="*/ 1474069 w 2342339"/>
              <a:gd name="connsiteY0" fmla="*/ 1077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13347 h 1024508"/>
              <a:gd name="connsiteX0" fmla="*/ 1474069 w 2342339"/>
              <a:gd name="connsiteY0" fmla="*/ 1077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474069 w 2342339"/>
              <a:gd name="connsiteY0" fmla="*/ 107792 h 1024508"/>
              <a:gd name="connsiteX1" fmla="*/ 1524730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474069 w 2342339"/>
              <a:gd name="connsiteY0" fmla="*/ 109539 h 1026255"/>
              <a:gd name="connsiteX1" fmla="*/ 1633466 w 2342339"/>
              <a:gd name="connsiteY1" fmla="*/ 0 h 1026255"/>
              <a:gd name="connsiteX2" fmla="*/ 2342339 w 2342339"/>
              <a:gd name="connsiteY2" fmla="*/ 3365 h 1026255"/>
              <a:gd name="connsiteX3" fmla="*/ 2342339 w 2342339"/>
              <a:gd name="connsiteY3" fmla="*/ 1026255 h 1026255"/>
              <a:gd name="connsiteX4" fmla="*/ 0 w 2342339"/>
              <a:gd name="connsiteY4" fmla="*/ 1026255 h 1026255"/>
              <a:gd name="connsiteX5" fmla="*/ 0 w 2342339"/>
              <a:gd name="connsiteY5" fmla="*/ 3365 h 1026255"/>
              <a:gd name="connsiteX6" fmla="*/ 1156728 w 2342339"/>
              <a:gd name="connsiteY6" fmla="*/ 1747 h 1026255"/>
              <a:gd name="connsiteX7" fmla="*/ 1157363 w 2342339"/>
              <a:gd name="connsiteY7" fmla="*/ 107951 h 1026255"/>
              <a:gd name="connsiteX0" fmla="*/ 1635847 w 2342339"/>
              <a:gd name="connsiteY0" fmla="*/ 102395 h 1026255"/>
              <a:gd name="connsiteX1" fmla="*/ 1633466 w 2342339"/>
              <a:gd name="connsiteY1" fmla="*/ 0 h 1026255"/>
              <a:gd name="connsiteX2" fmla="*/ 2342339 w 2342339"/>
              <a:gd name="connsiteY2" fmla="*/ 3365 h 1026255"/>
              <a:gd name="connsiteX3" fmla="*/ 2342339 w 2342339"/>
              <a:gd name="connsiteY3" fmla="*/ 1026255 h 1026255"/>
              <a:gd name="connsiteX4" fmla="*/ 0 w 2342339"/>
              <a:gd name="connsiteY4" fmla="*/ 1026255 h 1026255"/>
              <a:gd name="connsiteX5" fmla="*/ 0 w 2342339"/>
              <a:gd name="connsiteY5" fmla="*/ 3365 h 1026255"/>
              <a:gd name="connsiteX6" fmla="*/ 1156728 w 2342339"/>
              <a:gd name="connsiteY6" fmla="*/ 1747 h 1026255"/>
              <a:gd name="connsiteX7" fmla="*/ 1157363 w 2342339"/>
              <a:gd name="connsiteY7" fmla="*/ 107951 h 1026255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84665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84665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82013 w 2342339"/>
              <a:gd name="connsiteY7" fmla="*/ 94298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87317 w 2342339"/>
              <a:gd name="connsiteY7" fmla="*/ 103823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76709 w 2342339"/>
              <a:gd name="connsiteY7" fmla="*/ 103823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78726 w 2342339"/>
              <a:gd name="connsiteY6" fmla="*/ 0 h 1024508"/>
              <a:gd name="connsiteX7" fmla="*/ 1276709 w 2342339"/>
              <a:gd name="connsiteY7" fmla="*/ 103823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78726 w 2342339"/>
              <a:gd name="connsiteY6" fmla="*/ 0 h 1024508"/>
              <a:gd name="connsiteX7" fmla="*/ 1276709 w 2342339"/>
              <a:gd name="connsiteY7" fmla="*/ 94298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78726 w 2342339"/>
              <a:gd name="connsiteY6" fmla="*/ 0 h 1024508"/>
              <a:gd name="connsiteX7" fmla="*/ 1276709 w 2342339"/>
              <a:gd name="connsiteY7" fmla="*/ 101442 h 1024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2339" h="1024508">
                <a:moveTo>
                  <a:pt x="1635847" y="100648"/>
                </a:moveTo>
                <a:cubicBezTo>
                  <a:pt x="1635053" y="40322"/>
                  <a:pt x="1634260" y="60960"/>
                  <a:pt x="1633466" y="634"/>
                </a:cubicBezTo>
                <a:lnTo>
                  <a:pt x="2342339" y="1618"/>
                </a:lnTo>
                <a:lnTo>
                  <a:pt x="2342339" y="1024508"/>
                </a:lnTo>
                <a:lnTo>
                  <a:pt x="0" y="1024508"/>
                </a:lnTo>
                <a:lnTo>
                  <a:pt x="0" y="1618"/>
                </a:lnTo>
                <a:lnTo>
                  <a:pt x="1278726" y="0"/>
                </a:lnTo>
                <a:cubicBezTo>
                  <a:pt x="1283104" y="100377"/>
                  <a:pt x="1277073" y="100648"/>
                  <a:pt x="1276709" y="101442"/>
                </a:cubicBezTo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36576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Project / Task Management</a:t>
            </a:r>
          </a:p>
        </p:txBody>
      </p:sp>
      <p:pic>
        <p:nvPicPr>
          <p:cNvPr id="21" name="Picture 3" descr="D:\Users\mudjain\Desktop\images (3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031693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" descr="D:\Users\mudjain\Desktop\images (3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142067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" descr="D:\Users\mudjain\Desktop\images (3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252441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D:\Users\mudjain\Desktop\images (3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362815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" descr="D:\Users\mudjain\Desktop\images (3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473189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" descr="D:\Users\mudjain\Desktop\images (3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583563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" descr="D:\Users\mudjain\Desktop\images (3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693936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D:\Project Data\MJ's Data\Assets\Pics And Logos\User.png"/>
          <p:cNvPicPr>
            <a:picLocks noChangeAspect="1" noChangeArrowheads="1"/>
          </p:cNvPicPr>
          <p:nvPr/>
        </p:nvPicPr>
        <p:blipFill>
          <a:blip r:embed="rId3" cstate="print"/>
          <a:srcRect l="23756" t="6901" r="22635" b="34155"/>
          <a:stretch>
            <a:fillRect/>
          </a:stretch>
        </p:blipFill>
        <p:spPr bwMode="auto">
          <a:xfrm>
            <a:off x="1817331" y="4263402"/>
            <a:ext cx="276489" cy="304682"/>
          </a:xfrm>
          <a:prstGeom prst="rect">
            <a:avLst/>
          </a:prstGeom>
          <a:noFill/>
        </p:spPr>
      </p:pic>
      <p:pic>
        <p:nvPicPr>
          <p:cNvPr id="29" name="Picture 2" descr="D:\Project Data\MJ's Data\Assets\Pics And Logos\User.png"/>
          <p:cNvPicPr>
            <a:picLocks noChangeAspect="1" noChangeArrowheads="1"/>
          </p:cNvPicPr>
          <p:nvPr/>
        </p:nvPicPr>
        <p:blipFill>
          <a:blip r:embed="rId3" cstate="print"/>
          <a:srcRect l="23756" t="6901" r="22635" b="34155"/>
          <a:stretch>
            <a:fillRect/>
          </a:stretch>
        </p:blipFill>
        <p:spPr bwMode="auto">
          <a:xfrm>
            <a:off x="1949305" y="4415684"/>
            <a:ext cx="276489" cy="304682"/>
          </a:xfrm>
          <a:prstGeom prst="rect">
            <a:avLst/>
          </a:prstGeom>
          <a:noFill/>
        </p:spPr>
      </p:pic>
      <p:pic>
        <p:nvPicPr>
          <p:cNvPr id="30" name="Picture 2" descr="D:\Project Data\MJ's Data\Assets\Pics And Logos\User.png"/>
          <p:cNvPicPr>
            <a:picLocks noChangeAspect="1" noChangeArrowheads="1"/>
          </p:cNvPicPr>
          <p:nvPr/>
        </p:nvPicPr>
        <p:blipFill>
          <a:blip r:embed="rId3" cstate="print"/>
          <a:srcRect l="23756" t="6901" r="22635" b="34155"/>
          <a:stretch>
            <a:fillRect/>
          </a:stretch>
        </p:blipFill>
        <p:spPr bwMode="auto">
          <a:xfrm>
            <a:off x="1664932" y="4415684"/>
            <a:ext cx="276489" cy="304682"/>
          </a:xfrm>
          <a:prstGeom prst="rect">
            <a:avLst/>
          </a:prstGeom>
          <a:noFill/>
        </p:spPr>
      </p:pic>
      <p:pic>
        <p:nvPicPr>
          <p:cNvPr id="31" name="Picture 2" descr="D:\Project Data\MJ's Data\Assets\Pics And Logos\User.png"/>
          <p:cNvPicPr>
            <a:picLocks noChangeAspect="1" noChangeArrowheads="1"/>
          </p:cNvPicPr>
          <p:nvPr/>
        </p:nvPicPr>
        <p:blipFill>
          <a:blip r:embed="rId3" cstate="print"/>
          <a:srcRect l="23756" t="6901" r="22635" b="34155"/>
          <a:stretch>
            <a:fillRect/>
          </a:stretch>
        </p:blipFill>
        <p:spPr bwMode="auto">
          <a:xfrm>
            <a:off x="1388443" y="4415684"/>
            <a:ext cx="276489" cy="304682"/>
          </a:xfrm>
          <a:prstGeom prst="rect">
            <a:avLst/>
          </a:prstGeom>
          <a:noFill/>
        </p:spPr>
      </p:pic>
      <p:pic>
        <p:nvPicPr>
          <p:cNvPr id="32" name="Picture 4" descr="D:\Users\mudjain\Desktop\crm-buying-process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22"/>
          <a:stretch/>
        </p:blipFill>
        <p:spPr bwMode="auto">
          <a:xfrm>
            <a:off x="2414532" y="4089962"/>
            <a:ext cx="459043" cy="413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32"/>
          <p:cNvSpPr/>
          <p:nvPr/>
        </p:nvSpPr>
        <p:spPr>
          <a:xfrm>
            <a:off x="1324889" y="3151111"/>
            <a:ext cx="2103120" cy="54398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36576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Source Code Repository</a:t>
            </a:r>
          </a:p>
        </p:txBody>
      </p:sp>
      <p:pic>
        <p:nvPicPr>
          <p:cNvPr id="34" name="Picture 4" descr="D:\Users\mudjain\Desktop\download (2)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147157" y="3788534"/>
            <a:ext cx="280852" cy="252412"/>
          </a:xfrm>
          <a:prstGeom prst="rect">
            <a:avLst/>
          </a:prstGeom>
          <a:noFill/>
        </p:spPr>
      </p:pic>
      <p:sp>
        <p:nvSpPr>
          <p:cNvPr id="35" name="Rectangle 34"/>
          <p:cNvSpPr/>
          <p:nvPr/>
        </p:nvSpPr>
        <p:spPr>
          <a:xfrm>
            <a:off x="1324890" y="1760770"/>
            <a:ext cx="937148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1828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Compile</a:t>
            </a:r>
          </a:p>
        </p:txBody>
      </p:sp>
      <p:pic>
        <p:nvPicPr>
          <p:cNvPr id="36" name="Picture 3" descr="D:\Users\mudjain\Desktop\download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73226" y="4134882"/>
            <a:ext cx="330194" cy="330194"/>
          </a:xfrm>
          <a:prstGeom prst="rect">
            <a:avLst/>
          </a:prstGeom>
          <a:noFill/>
        </p:spPr>
      </p:pic>
      <p:pic>
        <p:nvPicPr>
          <p:cNvPr id="37" name="Picture 4" descr="D:\Users\mudjain\Desktop\download (2)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147157" y="3151111"/>
            <a:ext cx="280852" cy="252412"/>
          </a:xfrm>
          <a:prstGeom prst="rect">
            <a:avLst/>
          </a:prstGeom>
          <a:noFill/>
        </p:spPr>
      </p:pic>
      <p:pic>
        <p:nvPicPr>
          <p:cNvPr id="38" name="Picture 3" descr="D:\Users\mudjain\Desktop\images (3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5974" y="2326127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ounded Rectangle 38"/>
          <p:cNvSpPr/>
          <p:nvPr/>
        </p:nvSpPr>
        <p:spPr>
          <a:xfrm>
            <a:off x="3683754" y="3077344"/>
            <a:ext cx="2286000" cy="2955030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85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69040" y="1760770"/>
            <a:ext cx="1210842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1828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Packaging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6151689" y="1626358"/>
            <a:ext cx="2286000" cy="4406016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85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42" name="Picture 2" descr="D:\Users\mudjain\Desktop\images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089" t="5200" r="14089" b="13022"/>
          <a:stretch>
            <a:fillRect/>
          </a:stretch>
        </p:blipFill>
        <p:spPr bwMode="auto">
          <a:xfrm>
            <a:off x="4205203" y="2105786"/>
            <a:ext cx="302713" cy="344674"/>
          </a:xfrm>
          <a:prstGeom prst="rect">
            <a:avLst/>
          </a:prstGeom>
          <a:noFill/>
        </p:spPr>
      </p:pic>
      <p:pic>
        <p:nvPicPr>
          <p:cNvPr id="43" name="Picture 5" descr="D:\Users\mudjain\Desktop\00100020804_tns.png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369" y="1996895"/>
            <a:ext cx="543409" cy="543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43"/>
          <p:cNvSpPr/>
          <p:nvPr/>
        </p:nvSpPr>
        <p:spPr>
          <a:xfrm>
            <a:off x="3775194" y="3151111"/>
            <a:ext cx="2104689" cy="763629"/>
          </a:xfrm>
          <a:prstGeom prst="rect">
            <a:avLst/>
          </a:prstGeom>
          <a:solidFill>
            <a:schemeClr val="bg1"/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Environment Provisioning</a:t>
            </a:r>
          </a:p>
        </p:txBody>
      </p:sp>
      <p:pic>
        <p:nvPicPr>
          <p:cNvPr id="45" name="Picture 4" descr="D:\Users\mudjain\Desktop\download (2)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99030" y="3151110"/>
            <a:ext cx="280852" cy="252412"/>
          </a:xfrm>
          <a:prstGeom prst="rect">
            <a:avLst/>
          </a:prstGeom>
          <a:noFill/>
        </p:spPr>
      </p:pic>
      <p:pic>
        <p:nvPicPr>
          <p:cNvPr id="46" name="Picture 5" descr="D:\Users\mudjain\Desktop\bESDM3tb.jpe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996265" y="2038955"/>
            <a:ext cx="457866" cy="457866"/>
          </a:xfrm>
          <a:prstGeom prst="rect">
            <a:avLst/>
          </a:prstGeom>
          <a:noFill/>
        </p:spPr>
      </p:pic>
      <p:sp>
        <p:nvSpPr>
          <p:cNvPr id="47" name="Rectangle 46"/>
          <p:cNvSpPr/>
          <p:nvPr/>
        </p:nvSpPr>
        <p:spPr>
          <a:xfrm>
            <a:off x="3775194" y="4041088"/>
            <a:ext cx="2103120" cy="881028"/>
          </a:xfrm>
          <a:prstGeom prst="rect">
            <a:avLst/>
          </a:prstGeom>
          <a:solidFill>
            <a:schemeClr val="bg1"/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System of Records – Service Virtualization</a:t>
            </a:r>
          </a:p>
        </p:txBody>
      </p:sp>
      <p:pic>
        <p:nvPicPr>
          <p:cNvPr id="48" name="Picture 5" descr="D:\Users\mudjain\Desktop\bESDM3tb.jpe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99390" y="3333447"/>
            <a:ext cx="457866" cy="457866"/>
          </a:xfrm>
          <a:prstGeom prst="rect">
            <a:avLst/>
          </a:prstGeom>
          <a:noFill/>
        </p:spPr>
      </p:pic>
      <p:pic>
        <p:nvPicPr>
          <p:cNvPr id="49" name="Picture 6" descr="D:\Users\mudjain\Desktop\web-server-icons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3556" y="3523549"/>
            <a:ext cx="187351" cy="24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7" descr="D:\Users\mudjain\Desktop\download.png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3390" y="3403513"/>
            <a:ext cx="145651" cy="145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50"/>
          <p:cNvSpPr/>
          <p:nvPr/>
        </p:nvSpPr>
        <p:spPr>
          <a:xfrm>
            <a:off x="3776763" y="5056572"/>
            <a:ext cx="2103120" cy="881028"/>
          </a:xfrm>
          <a:prstGeom prst="rect">
            <a:avLst/>
          </a:prstGeom>
          <a:solidFill>
            <a:schemeClr val="bg1"/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Acceptance Test</a:t>
            </a:r>
          </a:p>
        </p:txBody>
      </p:sp>
      <p:pic>
        <p:nvPicPr>
          <p:cNvPr id="52" name="Picture 4" descr="D:\Users\mudjain\Desktop\download (2)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97462" y="4041088"/>
            <a:ext cx="280852" cy="252412"/>
          </a:xfrm>
          <a:prstGeom prst="rect">
            <a:avLst/>
          </a:prstGeom>
          <a:noFill/>
        </p:spPr>
      </p:pic>
      <p:pic>
        <p:nvPicPr>
          <p:cNvPr id="53" name="Picture 6" descr="D:\Users\mudjain\Desktop\images (1)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478072" y="4375284"/>
            <a:ext cx="497763" cy="478432"/>
          </a:xfrm>
          <a:prstGeom prst="rect">
            <a:avLst/>
          </a:prstGeom>
          <a:noFill/>
        </p:spPr>
      </p:pic>
      <p:pic>
        <p:nvPicPr>
          <p:cNvPr id="54" name="Picture 8" descr="D:\Users\mudjain\Desktop\search-512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350" y="5244274"/>
            <a:ext cx="552719" cy="552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ound Same Side Corner Rectangle 54"/>
          <p:cNvSpPr/>
          <p:nvPr/>
        </p:nvSpPr>
        <p:spPr>
          <a:xfrm>
            <a:off x="6151689" y="6040861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Load + </a:t>
            </a:r>
            <a:r>
              <a:rPr lang="en-US" sz="1400" b="1" dirty="0" err="1">
                <a:solidFill>
                  <a:schemeClr val="bg1"/>
                </a:solidFill>
              </a:rPr>
              <a:t>Perf</a:t>
            </a:r>
            <a:r>
              <a:rPr lang="en-US" sz="1400" b="1" dirty="0">
                <a:solidFill>
                  <a:schemeClr val="bg1"/>
                </a:solidFill>
              </a:rPr>
              <a:t> Stage</a:t>
            </a:r>
          </a:p>
        </p:txBody>
      </p:sp>
      <p:sp>
        <p:nvSpPr>
          <p:cNvPr id="56" name="Round Same Side Corner Rectangle 55"/>
          <p:cNvSpPr/>
          <p:nvPr/>
        </p:nvSpPr>
        <p:spPr>
          <a:xfrm>
            <a:off x="8589558" y="4024737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elease Stage</a:t>
            </a:r>
          </a:p>
        </p:txBody>
      </p:sp>
      <p:sp>
        <p:nvSpPr>
          <p:cNvPr id="57" name="Round Same Side Corner Rectangle 56"/>
          <p:cNvSpPr/>
          <p:nvPr/>
        </p:nvSpPr>
        <p:spPr>
          <a:xfrm>
            <a:off x="6151689" y="6040861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Load + </a:t>
            </a:r>
            <a:r>
              <a:rPr lang="en-US" sz="1400" b="1" dirty="0" err="1">
                <a:solidFill>
                  <a:schemeClr val="bg1"/>
                </a:solidFill>
              </a:rPr>
              <a:t>Perf</a:t>
            </a:r>
            <a:r>
              <a:rPr lang="en-US" sz="1400" b="1" dirty="0">
                <a:solidFill>
                  <a:schemeClr val="bg1"/>
                </a:solidFill>
              </a:rPr>
              <a:t> Stag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243129" y="1692384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Deployable Software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5219817" y="5344662"/>
            <a:ext cx="543701" cy="457866"/>
            <a:chOff x="6903190" y="2081957"/>
            <a:chExt cx="543701" cy="457866"/>
          </a:xfrm>
        </p:grpSpPr>
        <p:pic>
          <p:nvPicPr>
            <p:cNvPr id="60" name="Picture 5" descr="D:\Users\mudjain\Desktop\bESDM3tb.jpeg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989025" y="2081957"/>
              <a:ext cx="457866" cy="457866"/>
            </a:xfrm>
            <a:prstGeom prst="rect">
              <a:avLst/>
            </a:prstGeom>
            <a:noFill/>
          </p:spPr>
        </p:pic>
        <p:pic>
          <p:nvPicPr>
            <p:cNvPr id="61" name="Picture 6" descr="D:\Users\mudjain\Desktop\web-server-icons.jpg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03190" y="2272059"/>
              <a:ext cx="187351" cy="248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7" descr="D:\Users\mudjain\Desktop\download.png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3024" y="2152022"/>
              <a:ext cx="145651" cy="1456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3" name="Rectangle 62"/>
          <p:cNvSpPr/>
          <p:nvPr/>
        </p:nvSpPr>
        <p:spPr>
          <a:xfrm>
            <a:off x="6243129" y="2784190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18872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Load Testing</a:t>
            </a:r>
          </a:p>
        </p:txBody>
      </p:sp>
      <p:sp>
        <p:nvSpPr>
          <p:cNvPr id="64" name="Rectangle 63"/>
          <p:cNvSpPr/>
          <p:nvPr/>
        </p:nvSpPr>
        <p:spPr>
          <a:xfrm>
            <a:off x="6243129" y="3875996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188720" rtlCol="0" anchor="t"/>
          <a:lstStyle/>
          <a:p>
            <a:r>
              <a:rPr lang="en-US" sz="1100" b="1" dirty="0" err="1">
                <a:solidFill>
                  <a:schemeClr val="tx2">
                    <a:lumMod val="50000"/>
                  </a:schemeClr>
                </a:solidFill>
              </a:rPr>
              <a:t>Perf</a:t>
            </a:r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 Testing</a:t>
            </a:r>
          </a:p>
        </p:txBody>
      </p:sp>
      <p:sp>
        <p:nvSpPr>
          <p:cNvPr id="65" name="Rectangle 64"/>
          <p:cNvSpPr/>
          <p:nvPr/>
        </p:nvSpPr>
        <p:spPr>
          <a:xfrm>
            <a:off x="6243129" y="4967803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18872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Ready to release Software</a:t>
            </a:r>
          </a:p>
        </p:txBody>
      </p:sp>
      <p:pic>
        <p:nvPicPr>
          <p:cNvPr id="66" name="Picture 6" descr="D:\Users\mudjain\Desktop\images (1)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93689" y="1876270"/>
            <a:ext cx="497763" cy="478432"/>
          </a:xfrm>
          <a:prstGeom prst="rect">
            <a:avLst/>
          </a:prstGeom>
          <a:noFill/>
        </p:spPr>
      </p:pic>
      <p:pic>
        <p:nvPicPr>
          <p:cNvPr id="67" name="Picture 10" descr="D:\Users\mudjain\Desktop\load.png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1868" y="2757379"/>
            <a:ext cx="537308" cy="402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1" descr="D:\Users\mudjain\Desktop\download (6).jpg"/>
          <p:cNvPicPr>
            <a:picLocks noChangeAspect="1" noChangeArrowheads="1"/>
          </p:cNvPicPr>
          <p:nvPr/>
        </p:nvPicPr>
        <p:blipFill>
          <a:blip r:embed="rId15">
            <a:clrChange>
              <a:clrFrom>
                <a:srgbClr val="FBFAF8"/>
              </a:clrFrom>
              <a:clrTo>
                <a:srgbClr val="FBFA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7094" y="4065372"/>
            <a:ext cx="546687" cy="4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3" descr="D:\Users\mudjain\Desktop\images (3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3698" y="4250344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3" descr="D:\Users\mudjain\Desktop\images (3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9999" y="3238152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3" descr="D:\Users\mudjain\Desktop\images (3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2070" y="5457803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2" name="Group 71"/>
          <p:cNvGrpSpPr/>
          <p:nvPr/>
        </p:nvGrpSpPr>
        <p:grpSpPr>
          <a:xfrm>
            <a:off x="7673115" y="4867295"/>
            <a:ext cx="906973" cy="604172"/>
            <a:chOff x="7806927" y="3991930"/>
            <a:chExt cx="906973" cy="604172"/>
          </a:xfrm>
        </p:grpSpPr>
        <p:pic>
          <p:nvPicPr>
            <p:cNvPr id="73" name="Picture 12" descr="D:\Project Data\MJ's Data\Assets\Pics And Logos\thumbs-up-and-down.jpg"/>
            <p:cNvPicPr>
              <a:picLocks noChangeAspect="1" noChangeArrowheads="1"/>
            </p:cNvPicPr>
            <p:nvPr/>
          </p:nvPicPr>
          <p:blipFill rotWithShape="1"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0" t="9642" r="48968" b="32255"/>
            <a:stretch/>
          </p:blipFill>
          <p:spPr bwMode="auto">
            <a:xfrm>
              <a:off x="8033272" y="3991930"/>
              <a:ext cx="444294" cy="42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TextBox 73"/>
            <p:cNvSpPr txBox="1"/>
            <p:nvPr/>
          </p:nvSpPr>
          <p:spPr>
            <a:xfrm>
              <a:off x="7806927" y="4334492"/>
              <a:ext cx="90697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</a:rPr>
                <a:t>SignOff</a:t>
              </a:r>
              <a:endParaRPr lang="en-US" sz="11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pic>
        <p:nvPicPr>
          <p:cNvPr id="75" name="Picture 10" descr="D:\Users\mudjain\Desktop\download (1).png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703780" y="3214095"/>
            <a:ext cx="452992" cy="506411"/>
          </a:xfrm>
          <a:prstGeom prst="rect">
            <a:avLst/>
          </a:prstGeom>
          <a:noFill/>
        </p:spPr>
      </p:pic>
      <p:pic>
        <p:nvPicPr>
          <p:cNvPr id="76" name="Picture 10" descr="D:\Users\mudjain\Desktop\download (1).png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713860" y="3050372"/>
            <a:ext cx="452992" cy="506411"/>
          </a:xfrm>
          <a:prstGeom prst="rect">
            <a:avLst/>
          </a:prstGeom>
          <a:noFill/>
        </p:spPr>
      </p:pic>
      <p:pic>
        <p:nvPicPr>
          <p:cNvPr id="77" name="Picture 4" descr="D:\Users\mudjain\Desktop\download (2)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259137" y="1770928"/>
            <a:ext cx="538345" cy="483830"/>
          </a:xfrm>
          <a:prstGeom prst="rect">
            <a:avLst/>
          </a:prstGeom>
          <a:noFill/>
        </p:spPr>
      </p:pic>
      <p:sp>
        <p:nvSpPr>
          <p:cNvPr id="78" name="Round Same Side Corner Rectangle 77"/>
          <p:cNvSpPr/>
          <p:nvPr/>
        </p:nvSpPr>
        <p:spPr>
          <a:xfrm>
            <a:off x="8589558" y="4024737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Release Stage</a:t>
            </a:r>
          </a:p>
        </p:txBody>
      </p:sp>
      <p:pic>
        <p:nvPicPr>
          <p:cNvPr id="79" name="Picture 6" descr="D:\Users\mudjain\Desktop\images (1)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56380" y="2207938"/>
            <a:ext cx="497763" cy="478432"/>
          </a:xfrm>
          <a:prstGeom prst="rect">
            <a:avLst/>
          </a:prstGeom>
          <a:noFill/>
        </p:spPr>
      </p:pic>
      <p:pic>
        <p:nvPicPr>
          <p:cNvPr id="80" name="Picture 6" descr="D:\Users\mudjain\Desktop\Ubuntu_Update_manager_icon_v2_by_myc1034-300x300.pn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2366466" y="3151111"/>
            <a:ext cx="542472" cy="542472"/>
          </a:xfrm>
          <a:prstGeom prst="rect">
            <a:avLst/>
          </a:prstGeom>
          <a:noFill/>
        </p:spPr>
      </p:pic>
      <p:pic>
        <p:nvPicPr>
          <p:cNvPr id="81" name="Picture 2" descr="D:\Users\mudjain\Desktop\tumblr_static_9fszt6kfc5s8g0o8cockwc4cg.png"/>
          <p:cNvPicPr>
            <a:picLocks noChangeAspect="1" noChangeArrowheads="1"/>
          </p:cNvPicPr>
          <p:nvPr/>
        </p:nvPicPr>
        <p:blipFill rotWithShape="1">
          <a:blip r:embed="rId1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86" t="9671" r="8769" b="8586"/>
          <a:stretch/>
        </p:blipFill>
        <p:spPr bwMode="auto">
          <a:xfrm>
            <a:off x="1502002" y="2051119"/>
            <a:ext cx="481220" cy="484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3" descr="D:\Users\mudjain\Desktop\icon-tdd-6fb850c43f6adf78e7c6c1ab058035c5.png"/>
          <p:cNvPicPr>
            <a:picLocks noChangeAspect="1" noChangeArrowheads="1"/>
          </p:cNvPicPr>
          <p:nvPr/>
        </p:nvPicPr>
        <p:blipFill>
          <a:blip r:embed="rId20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0326" y="2019906"/>
            <a:ext cx="510873" cy="510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" descr="D:\Users\mudjain\Desktop\search-512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955" y="2037425"/>
            <a:ext cx="346263" cy="34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Rounded Rectangle 83"/>
          <p:cNvSpPr/>
          <p:nvPr/>
        </p:nvSpPr>
        <p:spPr>
          <a:xfrm>
            <a:off x="8589558" y="4811424"/>
            <a:ext cx="2286000" cy="1502067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10000"/>
            </a:schemeClr>
          </a:solidFill>
          <a:ln w="158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5" name="Round Same Side Corner Rectangle 84"/>
          <p:cNvSpPr/>
          <p:nvPr/>
        </p:nvSpPr>
        <p:spPr>
          <a:xfrm>
            <a:off x="8589558" y="4537209"/>
            <a:ext cx="2286000" cy="272630"/>
          </a:xfrm>
          <a:prstGeom prst="round2SameRect">
            <a:avLst>
              <a:gd name="adj1" fmla="val 48912"/>
              <a:gd name="adj2" fmla="val 0"/>
            </a:avLst>
          </a:prstGeom>
          <a:solidFill>
            <a:srgbClr val="00B050"/>
          </a:solidFill>
          <a:ln w="158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Client / Prod. Owner</a:t>
            </a:r>
          </a:p>
        </p:txBody>
      </p:sp>
      <p:grpSp>
        <p:nvGrpSpPr>
          <p:cNvPr id="86" name="Group 85"/>
          <p:cNvGrpSpPr/>
          <p:nvPr/>
        </p:nvGrpSpPr>
        <p:grpSpPr>
          <a:xfrm>
            <a:off x="9661759" y="5273165"/>
            <a:ext cx="906973" cy="604172"/>
            <a:chOff x="7806927" y="3991930"/>
            <a:chExt cx="906973" cy="604172"/>
          </a:xfrm>
        </p:grpSpPr>
        <p:pic>
          <p:nvPicPr>
            <p:cNvPr id="87" name="Picture 12" descr="D:\Project Data\MJ's Data\Assets\Pics And Logos\thumbs-up-and-down.jpg"/>
            <p:cNvPicPr>
              <a:picLocks noChangeAspect="1" noChangeArrowheads="1"/>
            </p:cNvPicPr>
            <p:nvPr/>
          </p:nvPicPr>
          <p:blipFill rotWithShape="1"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0" t="9642" r="48968" b="32255"/>
            <a:stretch/>
          </p:blipFill>
          <p:spPr bwMode="auto">
            <a:xfrm>
              <a:off x="8033272" y="3991930"/>
              <a:ext cx="444294" cy="42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8" name="TextBox 87"/>
            <p:cNvSpPr txBox="1"/>
            <p:nvPr/>
          </p:nvSpPr>
          <p:spPr>
            <a:xfrm>
              <a:off x="7806927" y="4334492"/>
              <a:ext cx="90697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</a:rPr>
                <a:t>SignOff</a:t>
              </a:r>
              <a:endParaRPr lang="en-US" sz="11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pic>
        <p:nvPicPr>
          <p:cNvPr id="89" name="Picture 2" descr="D:\Project Data\MJ's Data\Assets\Pics And Logos\Human\Picture1.pn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7683" y="5128374"/>
            <a:ext cx="1053252" cy="1062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0" name="Group 89"/>
          <p:cNvGrpSpPr/>
          <p:nvPr/>
        </p:nvGrpSpPr>
        <p:grpSpPr>
          <a:xfrm>
            <a:off x="7673115" y="801367"/>
            <a:ext cx="906973" cy="604172"/>
            <a:chOff x="7806927" y="3991930"/>
            <a:chExt cx="906973" cy="604172"/>
          </a:xfrm>
        </p:grpSpPr>
        <p:pic>
          <p:nvPicPr>
            <p:cNvPr id="91" name="Picture 12" descr="D:\Project Data\MJ's Data\Assets\Pics And Logos\thumbs-up-and-down.jpg"/>
            <p:cNvPicPr>
              <a:picLocks noChangeAspect="1" noChangeArrowheads="1"/>
            </p:cNvPicPr>
            <p:nvPr/>
          </p:nvPicPr>
          <p:blipFill rotWithShape="1"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0" t="9642" r="48968" b="32255"/>
            <a:stretch/>
          </p:blipFill>
          <p:spPr bwMode="auto">
            <a:xfrm>
              <a:off x="8033272" y="3991930"/>
              <a:ext cx="444294" cy="42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2" name="TextBox 91"/>
            <p:cNvSpPr txBox="1"/>
            <p:nvPr/>
          </p:nvSpPr>
          <p:spPr>
            <a:xfrm>
              <a:off x="7806927" y="4334492"/>
              <a:ext cx="90697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</a:rPr>
                <a:t>SignOff</a:t>
              </a:r>
              <a:endParaRPr lang="en-US" sz="11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pic>
        <p:nvPicPr>
          <p:cNvPr id="93" name="Picture 10" descr="D:\Users\mudjain\Desktop\download (1).png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713860" y="3366495"/>
            <a:ext cx="452992" cy="506411"/>
          </a:xfrm>
          <a:prstGeom prst="rect">
            <a:avLst/>
          </a:prstGeom>
          <a:noFill/>
        </p:spPr>
      </p:pic>
      <p:sp>
        <p:nvSpPr>
          <p:cNvPr id="116" name="Rectangle 115"/>
          <p:cNvSpPr/>
          <p:nvPr/>
        </p:nvSpPr>
        <p:spPr>
          <a:xfrm>
            <a:off x="3473900" y="1759092"/>
            <a:ext cx="1119818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Static Analysis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2354016" y="1759092"/>
            <a:ext cx="1011581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1828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Unit Test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1322393" y="3786856"/>
            <a:ext cx="2103120" cy="102289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36576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Development &amp; Configuration</a:t>
            </a:r>
          </a:p>
        </p:txBody>
      </p:sp>
      <p:sp>
        <p:nvSpPr>
          <p:cNvPr id="119" name="Rectangle 27"/>
          <p:cNvSpPr/>
          <p:nvPr/>
        </p:nvSpPr>
        <p:spPr>
          <a:xfrm>
            <a:off x="1322393" y="4912034"/>
            <a:ext cx="2103120" cy="1024508"/>
          </a:xfrm>
          <a:custGeom>
            <a:avLst/>
            <a:gdLst>
              <a:gd name="connsiteX0" fmla="*/ 0 w 2342339"/>
              <a:gd name="connsiteY0" fmla="*/ 0 h 1022890"/>
              <a:gd name="connsiteX1" fmla="*/ 2342339 w 2342339"/>
              <a:gd name="connsiteY1" fmla="*/ 0 h 1022890"/>
              <a:gd name="connsiteX2" fmla="*/ 2342339 w 2342339"/>
              <a:gd name="connsiteY2" fmla="*/ 1022890 h 1022890"/>
              <a:gd name="connsiteX3" fmla="*/ 0 w 2342339"/>
              <a:gd name="connsiteY3" fmla="*/ 1022890 h 1022890"/>
              <a:gd name="connsiteX4" fmla="*/ 0 w 2342339"/>
              <a:gd name="connsiteY4" fmla="*/ 0 h 1022890"/>
              <a:gd name="connsiteX0" fmla="*/ 0 w 2342339"/>
              <a:gd name="connsiteY0" fmla="*/ 4158 h 1027048"/>
              <a:gd name="connsiteX1" fmla="*/ 1249438 w 2342339"/>
              <a:gd name="connsiteY1" fmla="*/ 0 h 1027048"/>
              <a:gd name="connsiteX2" fmla="*/ 2342339 w 2342339"/>
              <a:gd name="connsiteY2" fmla="*/ 4158 h 1027048"/>
              <a:gd name="connsiteX3" fmla="*/ 2342339 w 2342339"/>
              <a:gd name="connsiteY3" fmla="*/ 1027048 h 1027048"/>
              <a:gd name="connsiteX4" fmla="*/ 0 w 2342339"/>
              <a:gd name="connsiteY4" fmla="*/ 1027048 h 1027048"/>
              <a:gd name="connsiteX5" fmla="*/ 0 w 2342339"/>
              <a:gd name="connsiteY5" fmla="*/ 4158 h 1027048"/>
              <a:gd name="connsiteX0" fmla="*/ 0 w 2342339"/>
              <a:gd name="connsiteY0" fmla="*/ 4158 h 1027048"/>
              <a:gd name="connsiteX1" fmla="*/ 773188 w 2342339"/>
              <a:gd name="connsiteY1" fmla="*/ 6350 h 1027048"/>
              <a:gd name="connsiteX2" fmla="*/ 1249438 w 2342339"/>
              <a:gd name="connsiteY2" fmla="*/ 0 h 1027048"/>
              <a:gd name="connsiteX3" fmla="*/ 2342339 w 2342339"/>
              <a:gd name="connsiteY3" fmla="*/ 4158 h 1027048"/>
              <a:gd name="connsiteX4" fmla="*/ 2342339 w 2342339"/>
              <a:gd name="connsiteY4" fmla="*/ 1027048 h 1027048"/>
              <a:gd name="connsiteX5" fmla="*/ 0 w 2342339"/>
              <a:gd name="connsiteY5" fmla="*/ 1027048 h 1027048"/>
              <a:gd name="connsiteX6" fmla="*/ 0 w 2342339"/>
              <a:gd name="connsiteY6" fmla="*/ 4158 h 1027048"/>
              <a:gd name="connsiteX0" fmla="*/ 1249438 w 2342339"/>
              <a:gd name="connsiteY0" fmla="*/ 0 h 1027048"/>
              <a:gd name="connsiteX1" fmla="*/ 2342339 w 2342339"/>
              <a:gd name="connsiteY1" fmla="*/ 4158 h 1027048"/>
              <a:gd name="connsiteX2" fmla="*/ 2342339 w 2342339"/>
              <a:gd name="connsiteY2" fmla="*/ 1027048 h 1027048"/>
              <a:gd name="connsiteX3" fmla="*/ 0 w 2342339"/>
              <a:gd name="connsiteY3" fmla="*/ 1027048 h 1027048"/>
              <a:gd name="connsiteX4" fmla="*/ 0 w 2342339"/>
              <a:gd name="connsiteY4" fmla="*/ 4158 h 1027048"/>
              <a:gd name="connsiteX5" fmla="*/ 864628 w 2342339"/>
              <a:gd name="connsiteY5" fmla="*/ 97790 h 1027048"/>
              <a:gd name="connsiteX0" fmla="*/ 1249438 w 2342339"/>
              <a:gd name="connsiteY0" fmla="*/ 0 h 1027048"/>
              <a:gd name="connsiteX1" fmla="*/ 2342339 w 2342339"/>
              <a:gd name="connsiteY1" fmla="*/ 4158 h 1027048"/>
              <a:gd name="connsiteX2" fmla="*/ 2342339 w 2342339"/>
              <a:gd name="connsiteY2" fmla="*/ 1027048 h 1027048"/>
              <a:gd name="connsiteX3" fmla="*/ 0 w 2342339"/>
              <a:gd name="connsiteY3" fmla="*/ 1027048 h 1027048"/>
              <a:gd name="connsiteX4" fmla="*/ 0 w 2342339"/>
              <a:gd name="connsiteY4" fmla="*/ 4158 h 1027048"/>
              <a:gd name="connsiteX5" fmla="*/ 858278 w 2342339"/>
              <a:gd name="connsiteY5" fmla="*/ 2540 h 102704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858278 w 2342339"/>
              <a:gd name="connsiteY5" fmla="*/ 0 h 102450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991628 w 2342339"/>
              <a:gd name="connsiteY5" fmla="*/ 0 h 102450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991628 w 2342339"/>
              <a:gd name="connsiteY5" fmla="*/ 0 h 102450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1156728 w 2342339"/>
              <a:gd name="connsiteY5" fmla="*/ 0 h 1024508"/>
              <a:gd name="connsiteX0" fmla="*/ 1503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1156728 w 2342339"/>
              <a:gd name="connsiteY5" fmla="*/ 0 h 1024508"/>
              <a:gd name="connsiteX0" fmla="*/ 15542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1156728 w 2342339"/>
              <a:gd name="connsiteY5" fmla="*/ 0 h 1024508"/>
              <a:gd name="connsiteX0" fmla="*/ 1554238 w 2342339"/>
              <a:gd name="connsiteY0" fmla="*/ 3810 h 1024508"/>
              <a:gd name="connsiteX1" fmla="*/ 1535188 w 2342339"/>
              <a:gd name="connsiteY1" fmla="*/ 381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554238 w 2342339"/>
              <a:gd name="connsiteY0" fmla="*/ 3810 h 1024508"/>
              <a:gd name="connsiteX1" fmla="*/ 1446288 w 2342339"/>
              <a:gd name="connsiteY1" fmla="*/ 32131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338338 w 2342339"/>
              <a:gd name="connsiteY0" fmla="*/ 340360 h 1024508"/>
              <a:gd name="connsiteX1" fmla="*/ 1446288 w 2342339"/>
              <a:gd name="connsiteY1" fmla="*/ 32131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338338 w 2342339"/>
              <a:gd name="connsiteY0" fmla="*/ 340360 h 1024508"/>
              <a:gd name="connsiteX1" fmla="*/ 1471688 w 2342339"/>
              <a:gd name="connsiteY1" fmla="*/ 1016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1016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5397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5396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4982 w 2342339"/>
              <a:gd name="connsiteY7" fmla="*/ 3810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16894 w 2342339"/>
              <a:gd name="connsiteY7" fmla="*/ 151447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07369 w 2342339"/>
              <a:gd name="connsiteY7" fmla="*/ 256222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07369 w 2342339"/>
              <a:gd name="connsiteY7" fmla="*/ 256222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9744 w 2342339"/>
              <a:gd name="connsiteY7" fmla="*/ 196691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9744 w 2342339"/>
              <a:gd name="connsiteY7" fmla="*/ 177641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87166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84785 h 1024508"/>
              <a:gd name="connsiteX0" fmla="*/ 1474069 w 2342339"/>
              <a:gd name="connsiteY0" fmla="*/ 1077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84785 h 1024508"/>
              <a:gd name="connsiteX0" fmla="*/ 1474069 w 2342339"/>
              <a:gd name="connsiteY0" fmla="*/ 1077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13347 h 1024508"/>
              <a:gd name="connsiteX0" fmla="*/ 1474069 w 2342339"/>
              <a:gd name="connsiteY0" fmla="*/ 1077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474069 w 2342339"/>
              <a:gd name="connsiteY0" fmla="*/ 107792 h 1024508"/>
              <a:gd name="connsiteX1" fmla="*/ 1524730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474069 w 2342339"/>
              <a:gd name="connsiteY0" fmla="*/ 109539 h 1026255"/>
              <a:gd name="connsiteX1" fmla="*/ 1633466 w 2342339"/>
              <a:gd name="connsiteY1" fmla="*/ 0 h 1026255"/>
              <a:gd name="connsiteX2" fmla="*/ 2342339 w 2342339"/>
              <a:gd name="connsiteY2" fmla="*/ 3365 h 1026255"/>
              <a:gd name="connsiteX3" fmla="*/ 2342339 w 2342339"/>
              <a:gd name="connsiteY3" fmla="*/ 1026255 h 1026255"/>
              <a:gd name="connsiteX4" fmla="*/ 0 w 2342339"/>
              <a:gd name="connsiteY4" fmla="*/ 1026255 h 1026255"/>
              <a:gd name="connsiteX5" fmla="*/ 0 w 2342339"/>
              <a:gd name="connsiteY5" fmla="*/ 3365 h 1026255"/>
              <a:gd name="connsiteX6" fmla="*/ 1156728 w 2342339"/>
              <a:gd name="connsiteY6" fmla="*/ 1747 h 1026255"/>
              <a:gd name="connsiteX7" fmla="*/ 1157363 w 2342339"/>
              <a:gd name="connsiteY7" fmla="*/ 107951 h 1026255"/>
              <a:gd name="connsiteX0" fmla="*/ 1635847 w 2342339"/>
              <a:gd name="connsiteY0" fmla="*/ 102395 h 1026255"/>
              <a:gd name="connsiteX1" fmla="*/ 1633466 w 2342339"/>
              <a:gd name="connsiteY1" fmla="*/ 0 h 1026255"/>
              <a:gd name="connsiteX2" fmla="*/ 2342339 w 2342339"/>
              <a:gd name="connsiteY2" fmla="*/ 3365 h 1026255"/>
              <a:gd name="connsiteX3" fmla="*/ 2342339 w 2342339"/>
              <a:gd name="connsiteY3" fmla="*/ 1026255 h 1026255"/>
              <a:gd name="connsiteX4" fmla="*/ 0 w 2342339"/>
              <a:gd name="connsiteY4" fmla="*/ 1026255 h 1026255"/>
              <a:gd name="connsiteX5" fmla="*/ 0 w 2342339"/>
              <a:gd name="connsiteY5" fmla="*/ 3365 h 1026255"/>
              <a:gd name="connsiteX6" fmla="*/ 1156728 w 2342339"/>
              <a:gd name="connsiteY6" fmla="*/ 1747 h 1026255"/>
              <a:gd name="connsiteX7" fmla="*/ 1157363 w 2342339"/>
              <a:gd name="connsiteY7" fmla="*/ 107951 h 1026255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84665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84665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82013 w 2342339"/>
              <a:gd name="connsiteY7" fmla="*/ 94298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87317 w 2342339"/>
              <a:gd name="connsiteY7" fmla="*/ 103823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76709 w 2342339"/>
              <a:gd name="connsiteY7" fmla="*/ 103823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78726 w 2342339"/>
              <a:gd name="connsiteY6" fmla="*/ 0 h 1024508"/>
              <a:gd name="connsiteX7" fmla="*/ 1276709 w 2342339"/>
              <a:gd name="connsiteY7" fmla="*/ 103823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78726 w 2342339"/>
              <a:gd name="connsiteY6" fmla="*/ 0 h 1024508"/>
              <a:gd name="connsiteX7" fmla="*/ 1276709 w 2342339"/>
              <a:gd name="connsiteY7" fmla="*/ 94298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78726 w 2342339"/>
              <a:gd name="connsiteY6" fmla="*/ 0 h 1024508"/>
              <a:gd name="connsiteX7" fmla="*/ 1276709 w 2342339"/>
              <a:gd name="connsiteY7" fmla="*/ 101442 h 1024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2339" h="1024508">
                <a:moveTo>
                  <a:pt x="1635847" y="100648"/>
                </a:moveTo>
                <a:cubicBezTo>
                  <a:pt x="1635053" y="40322"/>
                  <a:pt x="1634260" y="60960"/>
                  <a:pt x="1633466" y="634"/>
                </a:cubicBezTo>
                <a:lnTo>
                  <a:pt x="2342339" y="1618"/>
                </a:lnTo>
                <a:lnTo>
                  <a:pt x="2342339" y="1024508"/>
                </a:lnTo>
                <a:lnTo>
                  <a:pt x="0" y="1024508"/>
                </a:lnTo>
                <a:lnTo>
                  <a:pt x="0" y="1618"/>
                </a:lnTo>
                <a:lnTo>
                  <a:pt x="1278726" y="0"/>
                </a:lnTo>
                <a:cubicBezTo>
                  <a:pt x="1283104" y="100377"/>
                  <a:pt x="1277073" y="100648"/>
                  <a:pt x="1276709" y="101442"/>
                </a:cubicBezTo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36576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Project / Task Management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1322393" y="3149433"/>
            <a:ext cx="2103120" cy="54398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36576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Source Code Repository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1322394" y="1759092"/>
            <a:ext cx="937148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1828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Compile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4666544" y="1759092"/>
            <a:ext cx="1210842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1828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Packaging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3772698" y="3149433"/>
            <a:ext cx="2104689" cy="76362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Environment Provisioning</a:t>
            </a:r>
          </a:p>
        </p:txBody>
      </p:sp>
      <p:sp>
        <p:nvSpPr>
          <p:cNvPr id="124" name="Rectangle 123"/>
          <p:cNvSpPr/>
          <p:nvPr/>
        </p:nvSpPr>
        <p:spPr>
          <a:xfrm>
            <a:off x="3772698" y="4039410"/>
            <a:ext cx="2103120" cy="8810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System of Records – Service Virtualization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3774267" y="5054894"/>
            <a:ext cx="2103120" cy="8810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Acceptance Test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6240633" y="1690706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Deployable Software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6240633" y="2782512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18872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Load Testing</a:t>
            </a:r>
          </a:p>
        </p:txBody>
      </p:sp>
      <p:sp>
        <p:nvSpPr>
          <p:cNvPr id="128" name="Rectangle 127"/>
          <p:cNvSpPr/>
          <p:nvPr/>
        </p:nvSpPr>
        <p:spPr>
          <a:xfrm>
            <a:off x="6240633" y="3874318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188720" rtlCol="0" anchor="t"/>
          <a:lstStyle/>
          <a:p>
            <a:r>
              <a:rPr lang="en-US" sz="1100" b="1" dirty="0" err="1">
                <a:solidFill>
                  <a:schemeClr val="tx2">
                    <a:lumMod val="50000"/>
                  </a:schemeClr>
                </a:solidFill>
              </a:rPr>
              <a:t>Perf</a:t>
            </a:r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 Testing</a:t>
            </a:r>
          </a:p>
        </p:txBody>
      </p:sp>
      <p:sp>
        <p:nvSpPr>
          <p:cNvPr id="129" name="Rectangle 128"/>
          <p:cNvSpPr/>
          <p:nvPr/>
        </p:nvSpPr>
        <p:spPr>
          <a:xfrm>
            <a:off x="6240633" y="4966125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188720" rtlCol="0" anchor="t"/>
          <a:lstStyle/>
          <a:p>
            <a:r>
              <a:rPr lang="en-US" sz="1100" b="1" dirty="0">
                <a:solidFill>
                  <a:schemeClr val="tx2">
                    <a:lumMod val="50000"/>
                  </a:schemeClr>
                </a:solidFill>
              </a:rPr>
              <a:t>Ready to release Software</a:t>
            </a:r>
          </a:p>
        </p:txBody>
      </p:sp>
      <p:pic>
        <p:nvPicPr>
          <p:cNvPr id="94" name="Picture 3" descr="D:\Users\mudjain\Desktop\Pics\download (11).jpg"/>
          <p:cNvPicPr>
            <a:picLocks noChangeAspect="1" noChangeArrowheads="1"/>
          </p:cNvPicPr>
          <p:nvPr/>
        </p:nvPicPr>
        <p:blipFill>
          <a:blip r:embed="rId23" cstate="print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93253" y="3257617"/>
            <a:ext cx="794331" cy="330971"/>
          </a:xfrm>
          <a:prstGeom prst="rect">
            <a:avLst/>
          </a:prstGeom>
          <a:noFill/>
        </p:spPr>
      </p:pic>
      <p:pic>
        <p:nvPicPr>
          <p:cNvPr id="96" name="Picture 3" descr="D:\Users\jsodani\Desktop\tool logos\230px-Jenkins_logo_with_title_svg.png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526686" y="2642245"/>
            <a:ext cx="1187224" cy="408127"/>
          </a:xfrm>
          <a:prstGeom prst="rect">
            <a:avLst/>
          </a:prstGeom>
          <a:noFill/>
          <a:ln>
            <a:noFill/>
          </a:ln>
        </p:spPr>
      </p:pic>
      <p:pic>
        <p:nvPicPr>
          <p:cNvPr id="97" name="Picture 3" descr="D:\Users\mudjain\Desktop\images.png"/>
          <p:cNvPicPr>
            <a:picLocks noChangeAspect="1" noChangeArrowheads="1"/>
          </p:cNvPicPr>
          <p:nvPr/>
        </p:nvPicPr>
        <p:blipFill>
          <a:blip r:embed="rId25" cstate="print"/>
          <a:srcRect t="30929" b="32869"/>
          <a:stretch>
            <a:fillRect/>
          </a:stretch>
        </p:blipFill>
        <p:spPr bwMode="auto">
          <a:xfrm>
            <a:off x="4862652" y="4217053"/>
            <a:ext cx="823618" cy="298167"/>
          </a:xfrm>
          <a:prstGeom prst="rect">
            <a:avLst/>
          </a:prstGeom>
          <a:noFill/>
        </p:spPr>
      </p:pic>
      <p:pic>
        <p:nvPicPr>
          <p:cNvPr id="98" name="Picture 7" descr="D:\Users\jsodani\Desktop\tool logos\sonar.png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3595700" y="2111056"/>
            <a:ext cx="852740" cy="298045"/>
          </a:xfrm>
          <a:prstGeom prst="rect">
            <a:avLst/>
          </a:prstGeom>
          <a:noFill/>
        </p:spPr>
      </p:pic>
      <p:sp>
        <p:nvSpPr>
          <p:cNvPr id="95" name="Rounded Rectangle 94"/>
          <p:cNvSpPr/>
          <p:nvPr/>
        </p:nvSpPr>
        <p:spPr>
          <a:xfrm>
            <a:off x="1435809" y="4369067"/>
            <a:ext cx="1841405" cy="348829"/>
          </a:xfrm>
          <a:prstGeom prst="roundRect">
            <a:avLst/>
          </a:prstGeom>
          <a:solidFill>
            <a:schemeClr val="bg1"/>
          </a:solidFill>
          <a:ln w="9525">
            <a:solidFill>
              <a:srgbClr val="CC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IDE’s – Eclipse, </a:t>
            </a:r>
            <a:r>
              <a:rPr lang="en-US" sz="1400" b="1" dirty="0" err="1">
                <a:solidFill>
                  <a:srgbClr val="000000"/>
                </a:solidFill>
              </a:rPr>
              <a:t>etc</a:t>
            </a:r>
            <a:endParaRPr lang="en-US" sz="1400" b="1" dirty="0">
              <a:solidFill>
                <a:srgbClr val="000000"/>
              </a:solidFill>
            </a:endParaRPr>
          </a:p>
        </p:txBody>
      </p:sp>
      <p:pic>
        <p:nvPicPr>
          <p:cNvPr id="100" name="Picture 2" descr="D:\Users\mudjain\Desktop\Pics\download (3).png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4795964" y="2146021"/>
            <a:ext cx="1035054" cy="205776"/>
          </a:xfrm>
          <a:prstGeom prst="rect">
            <a:avLst/>
          </a:prstGeom>
          <a:noFill/>
        </p:spPr>
      </p:pic>
      <p:pic>
        <p:nvPicPr>
          <p:cNvPr id="130" name="Picture 1" descr="D:\Users\jsodani\Desktop\tool logos\JUnit.bmp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2758979" y="2374797"/>
            <a:ext cx="528605" cy="243355"/>
          </a:xfrm>
          <a:prstGeom prst="rect">
            <a:avLst/>
          </a:prstGeom>
          <a:noFill/>
        </p:spPr>
      </p:pic>
      <p:pic>
        <p:nvPicPr>
          <p:cNvPr id="131" name="Picture 2" descr="D:\Users\mudjain\Desktop\images (2).jpg"/>
          <p:cNvPicPr>
            <a:picLocks noChangeAspect="1" noChangeArrowheads="1"/>
          </p:cNvPicPr>
          <p:nvPr/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7059"/>
          <a:stretch>
            <a:fillRect/>
          </a:stretch>
        </p:blipFill>
        <p:spPr bwMode="auto">
          <a:xfrm>
            <a:off x="2306559" y="2260077"/>
            <a:ext cx="490947" cy="414512"/>
          </a:xfrm>
          <a:prstGeom prst="rect">
            <a:avLst/>
          </a:prstGeom>
          <a:noFill/>
        </p:spPr>
      </p:pic>
      <p:pic>
        <p:nvPicPr>
          <p:cNvPr id="132" name="Picture 7" descr="D:\Users\jsodani\Desktop\tool logos\maven.gif"/>
          <p:cNvPicPr>
            <a:picLocks noChangeAspect="1" noChangeArrowheads="1"/>
          </p:cNvPicPr>
          <p:nvPr/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78084" y="2150043"/>
            <a:ext cx="929056" cy="414074"/>
          </a:xfrm>
          <a:prstGeom prst="rect">
            <a:avLst/>
          </a:prstGeom>
          <a:noFill/>
        </p:spPr>
      </p:pic>
      <p:pic>
        <p:nvPicPr>
          <p:cNvPr id="133" name="Picture 2" descr="D:\Users\mudjain\Desktop\images (9).jpg"/>
          <p:cNvPicPr>
            <a:picLocks noChangeAspect="1" noChangeArrowheads="1"/>
          </p:cNvPicPr>
          <p:nvPr/>
        </p:nvPicPr>
        <p:blipFill>
          <a:blip r:embed="rId31" cstate="print"/>
          <a:srcRect l="26880" r="22840"/>
          <a:stretch>
            <a:fillRect/>
          </a:stretch>
        </p:blipFill>
        <p:spPr bwMode="auto">
          <a:xfrm>
            <a:off x="6957898" y="3959237"/>
            <a:ext cx="497638" cy="351290"/>
          </a:xfrm>
          <a:prstGeom prst="rect">
            <a:avLst/>
          </a:prstGeom>
          <a:noFill/>
        </p:spPr>
      </p:pic>
      <p:pic>
        <p:nvPicPr>
          <p:cNvPr id="134" name="Picture 3" descr="D:\Users\mudjain\Desktop\logo.jpg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7431838" y="4332277"/>
            <a:ext cx="797528" cy="385618"/>
          </a:xfrm>
          <a:prstGeom prst="rect">
            <a:avLst/>
          </a:prstGeom>
          <a:noFill/>
        </p:spPr>
      </p:pic>
      <p:pic>
        <p:nvPicPr>
          <p:cNvPr id="136" name="Picture 3" descr="D:\Users\mudjain\Desktop\download (6).jpg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8838184" y="2001468"/>
            <a:ext cx="664857" cy="664857"/>
          </a:xfrm>
          <a:prstGeom prst="rect">
            <a:avLst/>
          </a:prstGeom>
          <a:noFill/>
        </p:spPr>
      </p:pic>
      <p:pic>
        <p:nvPicPr>
          <p:cNvPr id="139" name="Picture 15" descr="D:\Users\mudjain\Desktop\Pics\download (5).jpg"/>
          <p:cNvPicPr>
            <a:picLocks noChangeAspect="1" noChangeArrowheads="1"/>
          </p:cNvPicPr>
          <p:nvPr/>
        </p:nvPicPr>
        <p:blipFill>
          <a:blip r:embed="rId3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3871"/>
          <a:stretch>
            <a:fillRect/>
          </a:stretch>
        </p:blipFill>
        <p:spPr bwMode="auto">
          <a:xfrm>
            <a:off x="4835363" y="3599536"/>
            <a:ext cx="890329" cy="315205"/>
          </a:xfrm>
          <a:prstGeom prst="rect">
            <a:avLst/>
          </a:prstGeom>
          <a:noFill/>
        </p:spPr>
      </p:pic>
      <p:pic>
        <p:nvPicPr>
          <p:cNvPr id="142" name="Picture 2" descr="D:\Users\mudjain\Desktop\images (9).jpg"/>
          <p:cNvPicPr>
            <a:picLocks noChangeAspect="1" noChangeArrowheads="1"/>
          </p:cNvPicPr>
          <p:nvPr/>
        </p:nvPicPr>
        <p:blipFill>
          <a:blip r:embed="rId31" cstate="print"/>
          <a:srcRect l="26880" r="22840"/>
          <a:stretch>
            <a:fillRect/>
          </a:stretch>
        </p:blipFill>
        <p:spPr bwMode="auto">
          <a:xfrm>
            <a:off x="7141705" y="3071812"/>
            <a:ext cx="497638" cy="351290"/>
          </a:xfrm>
          <a:prstGeom prst="rect">
            <a:avLst/>
          </a:prstGeom>
          <a:noFill/>
        </p:spPr>
      </p:pic>
      <p:pic>
        <p:nvPicPr>
          <p:cNvPr id="143" name="Picture 2" descr="D:\Users\mudjain\Desktop\images (2).jpg"/>
          <p:cNvPicPr>
            <a:picLocks noChangeAspect="1" noChangeArrowheads="1"/>
          </p:cNvPicPr>
          <p:nvPr/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7059"/>
          <a:stretch>
            <a:fillRect/>
          </a:stretch>
        </p:blipFill>
        <p:spPr bwMode="auto">
          <a:xfrm>
            <a:off x="4825681" y="5065566"/>
            <a:ext cx="581487" cy="490956"/>
          </a:xfrm>
          <a:prstGeom prst="rect">
            <a:avLst/>
          </a:prstGeom>
          <a:noFill/>
        </p:spPr>
      </p:pic>
      <p:pic>
        <p:nvPicPr>
          <p:cNvPr id="141314" name="Picture 2" descr="D:\Users\mudjain\Desktop\jira_logo_landing.png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7794" y="5398058"/>
            <a:ext cx="847097" cy="404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" name="Picture 8" descr="http://cdn1.techtalkshub.com/wp-content/uploads/2014/04/logstash-logo-big.png"/>
          <p:cNvPicPr>
            <a:picLocks noChangeAspect="1" noChangeArrowheads="1"/>
          </p:cNvPicPr>
          <p:nvPr/>
        </p:nvPicPr>
        <p:blipFill rotWithShape="1">
          <a:blip r:embed="rId3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6905" r="20828" b="22587"/>
          <a:stretch/>
        </p:blipFill>
        <p:spPr bwMode="auto">
          <a:xfrm>
            <a:off x="1230149" y="980161"/>
            <a:ext cx="1463925" cy="497546"/>
          </a:xfrm>
          <a:prstGeom prst="rect">
            <a:avLst/>
          </a:prstGeom>
          <a:noFill/>
        </p:spPr>
      </p:pic>
      <p:pic>
        <p:nvPicPr>
          <p:cNvPr id="146" name="Picture 10" descr="http://www.peakhosting.com/wp-content/uploads/2014/08/splunk-logo.png"/>
          <p:cNvPicPr>
            <a:picLocks noChangeAspect="1" noChangeArrowheads="1"/>
          </p:cNvPicPr>
          <p:nvPr/>
        </p:nvPicPr>
        <p:blipFill>
          <a:blip r:embed="rId3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4132" b="31800"/>
          <a:stretch>
            <a:fillRect/>
          </a:stretch>
        </p:blipFill>
        <p:spPr bwMode="auto">
          <a:xfrm>
            <a:off x="3574236" y="1059825"/>
            <a:ext cx="1367971" cy="338218"/>
          </a:xfrm>
          <a:prstGeom prst="rect">
            <a:avLst/>
          </a:prstGeom>
          <a:noFill/>
        </p:spPr>
      </p:pic>
      <p:pic>
        <p:nvPicPr>
          <p:cNvPr id="144" name="Picture 13" descr="D:\Users\mudjain\Desktop\Pics\maxresdefault.jpg"/>
          <p:cNvPicPr>
            <a:picLocks noChangeAspect="1" noChangeArrowheads="1"/>
          </p:cNvPicPr>
          <p:nvPr/>
        </p:nvPicPr>
        <p:blipFill>
          <a:blip r:embed="rId38" cstate="print"/>
          <a:srcRect l="19376" t="9951" r="21205" b="8145"/>
          <a:stretch>
            <a:fillRect/>
          </a:stretch>
        </p:blipFill>
        <p:spPr bwMode="auto">
          <a:xfrm>
            <a:off x="5280527" y="3231320"/>
            <a:ext cx="405744" cy="314599"/>
          </a:xfrm>
          <a:prstGeom prst="rect">
            <a:avLst/>
          </a:prstGeom>
          <a:noFill/>
        </p:spPr>
      </p:pic>
      <p:pic>
        <p:nvPicPr>
          <p:cNvPr id="147" name="Picture 12" descr="http://cdn-www.xda-developers.com/wp-content/uploads/2014/09/new-relic3.jpg"/>
          <p:cNvPicPr>
            <a:picLocks noChangeAspect="1" noChangeArrowheads="1"/>
          </p:cNvPicPr>
          <p:nvPr/>
        </p:nvPicPr>
        <p:blipFill>
          <a:blip r:embed="rId3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840055" y="957094"/>
            <a:ext cx="543680" cy="543680"/>
          </a:xfrm>
          <a:prstGeom prst="rect">
            <a:avLst/>
          </a:prstGeom>
          <a:noFill/>
        </p:spPr>
      </p:pic>
      <p:pic>
        <p:nvPicPr>
          <p:cNvPr id="135" name="Picture 2" descr="D:\Users\mudjain\Desktop\download (7).jpg"/>
          <p:cNvPicPr>
            <a:picLocks noChangeAspect="1" noChangeArrowheads="1"/>
          </p:cNvPicPr>
          <p:nvPr/>
        </p:nvPicPr>
        <p:blipFill>
          <a:blip r:embed="rId40" cstate="print"/>
          <a:srcRect l="12092" r="13777"/>
          <a:stretch>
            <a:fillRect/>
          </a:stretch>
        </p:blipFill>
        <p:spPr bwMode="auto">
          <a:xfrm>
            <a:off x="9557683" y="2803562"/>
            <a:ext cx="699300" cy="706584"/>
          </a:xfrm>
          <a:prstGeom prst="rect">
            <a:avLst/>
          </a:prstGeom>
          <a:noFill/>
        </p:spPr>
      </p:pic>
      <p:pic>
        <p:nvPicPr>
          <p:cNvPr id="151554" name="Picture 2" descr="D:\Users\mudjain\Desktop\uftlogoW-220x156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4947" y="5510627"/>
            <a:ext cx="587041" cy="415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1557" name="Picture 5" descr="D:\Users\mudjain\Desktop\image[13]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1358" y="1999254"/>
            <a:ext cx="1043844" cy="32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5" descr="D:\Users\mudjain\Desktop\image[13]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4636" y="5556523"/>
            <a:ext cx="1043844" cy="32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Title 1"/>
          <p:cNvSpPr txBox="1">
            <a:spLocks/>
          </p:cNvSpPr>
          <p:nvPr/>
        </p:nvSpPr>
        <p:spPr>
          <a:xfrm>
            <a:off x="1143002" y="1"/>
            <a:ext cx="9905999" cy="617517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 algn="l" defTabSz="91434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Recommended Technology View</a:t>
            </a:r>
          </a:p>
        </p:txBody>
      </p:sp>
    </p:spTree>
    <p:extLst>
      <p:ext uri="{BB962C8B-B14F-4D97-AF65-F5344CB8AC3E}">
        <p14:creationId xmlns:p14="http://schemas.microsoft.com/office/powerpoint/2010/main" val="951827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641E-7 1.85185E-6 L 0.00016 -0.11991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99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-0.02129 " pathEditMode="relative" ptsTypes="AA">
                                      <p:cBhvr>
                                        <p:cTn id="8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-0.02129 " pathEditMode="relative" ptsTypes="AA">
                                      <p:cBhvr>
                                        <p:cTn id="10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-0.02129 " pathEditMode="relative" ptsTypes="AA">
                                      <p:cBhvr>
                                        <p:cTn id="12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-0.02129 " pathEditMode="relative" ptsTypes="AA">
                                      <p:cBhvr>
                                        <p:cTn id="14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-0.02129 " pathEditMode="relative" ptsTypes="AA">
                                      <p:cBhvr>
                                        <p:cTn id="1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-0.02129 " pathEditMode="relative" ptsTypes="AA">
                                      <p:cBhvr>
                                        <p:cTn id="1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6" presetClass="emph" presetSubtype="0" repeatCount="2000" fill="remove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29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FF990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30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FF990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641E-7 -1.85185E-6 L -0.00048 -0.13148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" y="-657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70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6" presetClass="emph" presetSubtype="0" repeatCount="2000" fill="remove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52" dur="10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53" dur="10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54" dur="10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6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520"/>
                            </p:stCondLst>
                            <p:childTnLst>
                              <p:par>
                                <p:cTn id="58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1520"/>
                            </p:stCondLst>
                            <p:childTnLst>
                              <p:par>
                                <p:cTn id="65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48 -0.13133 L -0.00048 -0.21318 L -0.08999 -0.21318 L -0.08935 -0.29364 " pathEditMode="relative" rAng="0" ptsTypes="AAAA">
                                      <p:cBhvr>
                                        <p:cTn id="6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484" y="-8116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B0F0"/>
                                      </p:to>
                                    </p:animClr>
                                    <p:set>
                                      <p:cBhvr>
                                        <p:cTn id="7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3520"/>
                            </p:stCondLst>
                            <p:childTnLst>
                              <p:par>
                                <p:cTn id="74" presetID="19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4520"/>
                            </p:stCondLst>
                            <p:childTnLst>
                              <p:par>
                                <p:cTn id="79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8942 -0.29398 L 0.03654 -0.29375 " pathEditMode="relative" rAng="0" ptsTypes="AA">
                                      <p:cBhvr>
                                        <p:cTn id="80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29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6520"/>
                            </p:stCondLst>
                            <p:childTnLst>
                              <p:par>
                                <p:cTn id="8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6520"/>
                            </p:stCondLst>
                            <p:childTnLst>
                              <p:par>
                                <p:cTn id="85" presetID="8" presetClass="emph" presetSubtype="0" repeatCount="2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6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7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8520"/>
                            </p:stCondLst>
                            <p:childTnLst>
                              <p:par>
                                <p:cTn id="93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32 0.00208 L 0.00032 0.05903 L 0.10801 0.05903 L 0.10609 0.49236 L 0.00801 0.49097 " pathEditMode="relative" rAng="0" ptsTypes="AAAAA">
                                      <p:cBhvr>
                                        <p:cTn id="94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385" y="24514"/>
                                    </p:animMotion>
                                  </p:childTnLst>
                                </p:cTn>
                              </p:par>
                              <p:par>
                                <p:cTn id="9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654 -0.29375 L 0.13654 -0.29351 " pathEditMode="relative" ptsTypes="AA">
                                      <p:cBhvr>
                                        <p:cTn id="9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20520"/>
                            </p:stCondLst>
                            <p:childTnLst>
                              <p:par>
                                <p:cTn id="9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6 -0.00116 C 0.00945 -0.00116 0.01682 0.00648 0.01682 0.01667 C 0.01682 0.02639 0.00945 0.03449 0.00096 0.03449 C -0.00802 0.03449 -0.01491 0.02639 -0.01491 0.01667 C -0.01491 0.00648 -0.00802 -0.00116 0.00096 -0.00116 Z " pathEditMode="relative" rAng="0" ptsTypes="fffff">
                                      <p:cBhvr>
                                        <p:cTn id="101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22520"/>
                            </p:stCondLst>
                            <p:childTnLst>
                              <p:par>
                                <p:cTn id="103" presetID="3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4" dur="1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23520"/>
                            </p:stCondLst>
                            <p:childTnLst>
                              <p:par>
                                <p:cTn id="11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24020"/>
                            </p:stCondLst>
                            <p:childTnLst>
                              <p:par>
                                <p:cTn id="116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8 4.07407E-6 L 0.08862 -0.00232 " pathEditMode="relative" rAng="0" ptsTypes="AA">
                                      <p:cBhvr>
                                        <p:cTn id="117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471" y="-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26020"/>
                            </p:stCondLst>
                            <p:childTnLst>
                              <p:par>
                                <p:cTn id="119" presetID="8" presetClass="emph" presetSubtype="0" repeatCount="3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1" presetID="16" presetClass="emph" presetSubtype="0" repeatCount="2000" fill="remove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22" dur="10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3" dur="10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4" dur="10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xit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4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7" presetClass="emph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>
                                        <p:cTn id="137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3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3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B0F0"/>
                                      </p:to>
                                    </p:animClr>
                                    <p:set>
                                      <p:cBhvr>
                                        <p:cTn id="144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6 -0.0007 L -0.04135 0.18981 " pathEditMode="relative" rAng="0" ptsTypes="AA">
                                      <p:cBhvr>
                                        <p:cTn id="146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15" y="951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29020"/>
                            </p:stCondLst>
                            <p:childTnLst>
                              <p:par>
                                <p:cTn id="148" presetID="16" presetClass="emph" presetSubtype="0" repeatCount="2000" fill="remove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49" dur="10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0" dur="10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1" dur="10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>
                            <p:stCondLst>
                              <p:cond delay="32780"/>
                            </p:stCondLst>
                            <p:childTnLst>
                              <p:par>
                                <p:cTn id="16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32780"/>
                            </p:stCondLst>
                            <p:childTnLst>
                              <p:par>
                                <p:cTn id="1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1" fill="hold">
                            <p:stCondLst>
                              <p:cond delay="33280"/>
                            </p:stCondLst>
                            <p:childTnLst>
                              <p:par>
                                <p:cTn id="172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0.15 " pathEditMode="relative" ptsTypes="AA">
                                      <p:cBhvr>
                                        <p:cTn id="173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0.15 " pathEditMode="relative" ptsTypes="AA">
                                      <p:cBhvr>
                                        <p:cTn id="175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0.15 " pathEditMode="relative" ptsTypes="AA">
                                      <p:cBhvr>
                                        <p:cTn id="177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8" fill="hold">
                            <p:stCondLst>
                              <p:cond delay="35280"/>
                            </p:stCondLst>
                            <p:childTnLst>
                              <p:par>
                                <p:cTn id="179" presetID="55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0" dur="10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10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82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4" presetID="55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5" dur="1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1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87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55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90" dur="10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1" dur="10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92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6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8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9" fill="hold">
                            <p:stCondLst>
                              <p:cond delay="36280"/>
                            </p:stCondLst>
                            <p:childTnLst>
                              <p:par>
                                <p:cTn id="20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3" fill="hold">
                            <p:stCondLst>
                              <p:cond delay="36780"/>
                            </p:stCondLst>
                            <p:childTnLst>
                              <p:par>
                                <p:cTn id="20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69 -0.00324 L -0.00353 0.15231 " pathEditMode="relative" rAng="0" ptsTypes="AA">
                                      <p:cBhvr>
                                        <p:cTn id="205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6" fill="hold">
                            <p:stCondLst>
                              <p:cond delay="38780"/>
                            </p:stCondLst>
                            <p:childTnLst>
                              <p:par>
                                <p:cTn id="20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2564E-6 -1.85185E-6 C 0.0125 -1.85185E-6 0.02308 0.01181 0.02308 0.02685 C 0.02308 0.04167 0.0125 0.05371 1.02564E-6 0.05371 C -0.01298 0.05371 -0.02308 0.04167 -0.02308 0.02685 C -0.02308 0.01181 -0.01298 -1.85185E-6 1.02564E-6 -1.85185E-6 Z " pathEditMode="relative" rAng="0" ptsTypes="fffff">
                                      <p:cBhvr>
                                        <p:cTn id="210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6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1" fill="hold">
                            <p:stCondLst>
                              <p:cond delay="40780"/>
                            </p:stCondLst>
                            <p:childTnLst>
                              <p:par>
                                <p:cTn id="21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1" fill="hold">
                            <p:stCondLst>
                              <p:cond delay="41280"/>
                            </p:stCondLst>
                            <p:childTnLst>
                              <p:par>
                                <p:cTn id="222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2 0.00023 L -0.05849 0.00023 L -0.05849 0.03495 L -0.12372 0.03495 " pathEditMode="relative" rAng="0" ptsTypes="AAAA">
                                      <p:cBhvr>
                                        <p:cTn id="223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170" y="1736"/>
                                    </p:animMotion>
                                  </p:childTnLst>
                                </p:cTn>
                              </p:par>
                              <p:par>
                                <p:cTn id="22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15462E-6 1.12858E-6 L 0.05368 1.12858E-6 L 0.05368 -0.57863 L 0.18315 -0.57678 L 0.18315 -0.50902 " pathEditMode="relative" ptsTypes="AAAAA">
                                      <p:cBhvr>
                                        <p:cTn id="225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2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30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231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2" fill="hold">
                            <p:stCondLst>
                              <p:cond delay="43280"/>
                            </p:stCondLst>
                            <p:childTnLst>
                              <p:par>
                                <p:cTn id="2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5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37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8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3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3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4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5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6" fill="hold">
                            <p:stCondLst>
                              <p:cond delay="45280"/>
                            </p:stCondLst>
                            <p:childTnLst>
                              <p:par>
                                <p:cTn id="247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69 -0.00324 L -0.00353 0.15231 " pathEditMode="relative" rAng="0" ptsTypes="AA">
                                      <p:cBhvr>
                                        <p:cTn id="248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9" fill="hold">
                            <p:stCondLst>
                              <p:cond delay="47280"/>
                            </p:stCondLst>
                            <p:childTnLst>
                              <p:par>
                                <p:cTn id="2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92197E-7 -6.47549E-6 L 0.00128 0.06752 " pathEditMode="relative" ptsTypes="AA">
                                      <p:cBhvr>
                                        <p:cTn id="253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7" fill="hold">
                            <p:stCondLst>
                              <p:cond delay="49280"/>
                            </p:stCondLst>
                            <p:childTnLst>
                              <p:par>
                                <p:cTn id="25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88 3.76503E-6 L -0.05928 -0.00185 L -0.06201 0.38575 L -0.36789 0.38575 L -0.36789 0.33603 " pathEditMode="relative" rAng="0" ptsTypes="AAAAA">
                                      <p:cBhvr>
                                        <p:cTn id="259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50" y="19195"/>
                                    </p:animMotion>
                                  </p:childTnLst>
                                </p:cTn>
                              </p:par>
                              <p:par>
                                <p:cTn id="26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52 0.1524 L -0.00336 0.32932 " pathEditMode="relative" ptsTypes="AA">
                                      <p:cBhvr>
                                        <p:cTn id="261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2" fill="hold">
                            <p:stCondLst>
                              <p:cond delay="51280"/>
                            </p:stCondLst>
                            <p:childTnLst>
                              <p:par>
                                <p:cTn id="26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2437E-6 -3.52451E-6 L 0.11985 0.00023 " pathEditMode="relative" ptsTypes="AA">
                                      <p:cBhvr>
                                        <p:cTn id="266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6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0" fill="hold">
                            <p:stCondLst>
                              <p:cond delay="53280"/>
                            </p:stCondLst>
                            <p:childTnLst>
                              <p:par>
                                <p:cTn id="271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44 -3.53377E-6 L -0.04823 -0.00185 L -0.05095 0.23682 L -0.35812 0.23682 L -0.35812 0.16305 " pathEditMode="relative" rAng="0" ptsTypes="AAAAA">
                                      <p:cBhvr>
                                        <p:cTn id="272" dur="2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34" y="1174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3" fill="hold">
                            <p:stCondLst>
                              <p:cond delay="55280"/>
                            </p:stCondLst>
                            <p:childTnLst>
                              <p:par>
                                <p:cTn id="27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37 0.32933 L -0.00321 0.47641 " pathEditMode="relative" ptsTypes="AA">
                                      <p:cBhvr>
                                        <p:cTn id="275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6" fill="hold">
                            <p:stCondLst>
                              <p:cond delay="57280"/>
                            </p:stCondLst>
                            <p:childTnLst>
                              <p:par>
                                <p:cTn id="27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5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9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2" fill="hold">
                            <p:stCondLst>
                              <p:cond delay="57780"/>
                            </p:stCondLst>
                            <p:childTnLst>
                              <p:par>
                                <p:cTn id="293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2211E-6 4.90287E-7 L -0.10046 0.00208 " pathEditMode="relative" rAng="0" ptsTypes="AA">
                                      <p:cBhvr>
                                        <p:cTn id="294" dur="2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31" y="93"/>
                                    </p:animMotion>
                                  </p:childTnLst>
                                </p:cTn>
                              </p:par>
                              <p:par>
                                <p:cTn id="295" presetID="0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38439E-6 -8.03885E-6 L 0.00016 -0.59436 " pathEditMode="relative" ptsTypes="AA">
                                      <p:cBhvr>
                                        <p:cTn id="296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7" fill="hold">
                            <p:stCondLst>
                              <p:cond delay="60780"/>
                            </p:stCondLst>
                            <p:childTnLst>
                              <p:par>
                                <p:cTn id="29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1" dur="1000" tmFilter="0, 0; .2, .5; .8, .5; 1, 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02" dur="500" autoRev="1" fill="hold"/>
                                        <p:tgtEl>
                                          <p:spTgt spid="7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3" fill="hold">
                            <p:stCondLst>
                              <p:cond delay="61780"/>
                            </p:stCondLst>
                            <p:childTnLst>
                              <p:par>
                                <p:cTn id="30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6 -0.59436 L 0.0415 -0.59436 L 0.04295 0.06175 L 0.10079 0.06175 " pathEditMode="relative" ptsTypes="AAAA">
                                      <p:cBhvr>
                                        <p:cTn id="305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6" fill="hold">
                            <p:stCondLst>
                              <p:cond delay="63780"/>
                            </p:stCondLst>
                            <p:childTnLst>
                              <p:par>
                                <p:cTn id="30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0" dur="1000" tmFilter="0, 0; .2, .5; .8, .5; 1, 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1" dur="500" autoRev="1" fill="hold"/>
                                        <p:tgtEl>
                                          <p:spTgt spid="8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2" fill="hold">
                            <p:stCondLst>
                              <p:cond delay="64780"/>
                            </p:stCondLst>
                            <p:childTnLst>
                              <p:par>
                                <p:cTn id="313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21 0.4764 L -0.00321 0.53399 L 0.11809 0.53399 L 0.11809 -0.07239 L 0.23922 -0.07239 L 0.23922 0.05087 " pathEditMode="relative" ptsTypes="AAAAAA">
                                      <p:cBhvr>
                                        <p:cTn id="314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6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0" dur="2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1" fill="hold">
                            <p:stCondLst>
                              <p:cond delay="66780"/>
                            </p:stCondLst>
                            <p:childTnLst>
                              <p:par>
                                <p:cTn id="32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6" fill="hold">
                            <p:stCondLst>
                              <p:cond delay="66780"/>
                            </p:stCondLst>
                            <p:childTnLst>
                              <p:par>
                                <p:cTn id="327" presetID="1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28" dur="500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32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1" fill="hold">
                            <p:stCondLst>
                              <p:cond delay="67280"/>
                            </p:stCondLst>
                            <p:childTnLst>
                              <p:par>
                                <p:cTn id="33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6" dur="2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1" presetID="26" presetClass="emph" presetSubtype="0" repeatCount="indefinite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2" dur="20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43" dur="100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44" presetID="7" presetClass="emph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>
                                        <p:cTn id="345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B050"/>
                                      </p:to>
                                    </p:animClr>
                                    <p:set>
                                      <p:cBhvr>
                                        <p:cTn id="346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7" presetID="1" presetClass="emph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>
                                        <p:cTn id="348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050"/>
                                      </p:to>
                                    </p:animClr>
                                    <p:set>
                                      <p:cBhvr>
                                        <p:cTn id="349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0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1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3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4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6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8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1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3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4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6" fill="hold">
                            <p:stCondLst>
                              <p:cond delay="69780"/>
                            </p:stCondLst>
                            <p:childTnLst>
                              <p:par>
                                <p:cTn id="367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7.69231E-7 -1.48148E-6 L -0.0008 -0.33264 " pathEditMode="relative" rAng="0" ptsTypes="AA">
                                      <p:cBhvr>
                                        <p:cTn id="368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8" y="-16644"/>
                                    </p:animMotion>
                                  </p:childTnLst>
                                </p:cTn>
                              </p:par>
                              <p:par>
                                <p:cTn id="36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88047E-7 -4.53284E-7 L -0.04198 -0.00185 L -0.04198 0.37812 L -0.73145 0.37812 L -0.73145 0.30319 " pathEditMode="relative" rAng="0" ptsTypes="AAAAA">
                                      <p:cBhvr>
                                        <p:cTn id="370" dur="2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581" y="18802"/>
                                    </p:animMotion>
                                  </p:childTnLst>
                                </p:cTn>
                              </p:par>
                              <p:par>
                                <p:cTn id="37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64017E-6 2.39593E-6 L 0.00016 0.34852 " pathEditMode="relative" ptsTypes="AA">
                                      <p:cBhvr>
                                        <p:cTn id="372" dur="2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3" fill="hold">
                            <p:stCondLst>
                              <p:cond delay="71780"/>
                            </p:stCondLst>
                            <p:childTnLst>
                              <p:par>
                                <p:cTn id="374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75" dur="5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6" dur="5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7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9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80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1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8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4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85" dur="500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6" dur="500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8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9" fill="hold">
                      <p:stCondLst>
                        <p:cond delay="indefinite"/>
                      </p:stCondLst>
                      <p:childTnLst>
                        <p:par>
                          <p:cTn id="390" fill="hold">
                            <p:stCondLst>
                              <p:cond delay="0"/>
                            </p:stCondLst>
                            <p:childTnLst>
                              <p:par>
                                <p:cTn id="3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9" fill="hold">
                            <p:stCondLst>
                              <p:cond delay="0"/>
                            </p:stCondLst>
                            <p:childTnLst>
                              <p:par>
                                <p:cTn id="4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2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5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8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1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4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0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6" dur="500"/>
                                        <p:tgtEl>
                                          <p:spTgt spid="141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9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2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5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8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1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4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3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6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9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2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5" dur="500"/>
                                        <p:tgtEl>
                                          <p:spTgt spid="151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8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1" dur="500"/>
                                        <p:tgtEl>
                                          <p:spTgt spid="1515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 animBg="1"/>
      <p:bldP spid="9" grpId="1" animBg="1"/>
      <p:bldP spid="12" grpId="0" animBg="1"/>
      <p:bldP spid="12" grpId="1" animBg="1"/>
      <p:bldP spid="57" grpId="0" animBg="1"/>
      <p:bldP spid="57" grpId="1" animBg="1"/>
      <p:bldP spid="78" grpId="0" animBg="1"/>
      <p:bldP spid="78" grpId="1" animBg="1"/>
      <p:bldP spid="116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26" grpId="0" animBg="1"/>
      <p:bldP spid="127" grpId="0" animBg="1"/>
      <p:bldP spid="128" grpId="0" animBg="1"/>
      <p:bldP spid="129" grpId="0" animBg="1"/>
      <p:bldP spid="95" grpId="0" animBg="1"/>
      <p:bldP spid="14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heme/theme1.xml><?xml version="1.0" encoding="utf-8"?>
<a:theme xmlns:a="http://schemas.openxmlformats.org/drawingml/2006/main" name="Discover_PPT_Template2016">
  <a:themeElements>
    <a:clrScheme name="ABM Discover Group color">
      <a:dk1>
        <a:srgbClr val="00234B"/>
      </a:dk1>
      <a:lt1>
        <a:sysClr val="window" lastClr="FFFFFF"/>
      </a:lt1>
      <a:dk2>
        <a:srgbClr val="9F958F"/>
      </a:dk2>
      <a:lt2>
        <a:srgbClr val="B1B3B4"/>
      </a:lt2>
      <a:accent1>
        <a:srgbClr val="FECC26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47D0FF"/>
      </a:hlink>
      <a:folHlink>
        <a:srgbClr val="BA0065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175" cap="flat" cmpd="sng" algn="ctr">
          <a:solidFill>
            <a:schemeClr val="bg2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dirty="0" smtClean="0">
            <a:ln>
              <a:noFill/>
            </a:ln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tx2"/>
        </a:solidFill>
        <a:ln w="635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588</TotalTime>
  <Words>116</Words>
  <Application>Microsoft Office PowerPoint</Application>
  <PresentationFormat>Widescreen</PresentationFormat>
  <Paragraphs>4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ourier New</vt:lpstr>
      <vt:lpstr>Wingdings</vt:lpstr>
      <vt:lpstr>Discover_PPT_Template2016</vt:lpstr>
      <vt:lpstr>think-cell Slide</vt:lpstr>
      <vt:lpstr>DevOps Automation View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ar, Himanshu</dc:creator>
  <cp:lastModifiedBy>Patil, Suhas</cp:lastModifiedBy>
  <cp:revision>139</cp:revision>
  <dcterms:created xsi:type="dcterms:W3CDTF">2017-07-14T03:01:38Z</dcterms:created>
  <dcterms:modified xsi:type="dcterms:W3CDTF">2024-05-14T14:10:10Z</dcterms:modified>
</cp:coreProperties>
</file>